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8" r:id="rId2"/>
    <p:sldId id="257" r:id="rId3"/>
  </p:sldIdLst>
  <p:sldSz cx="12192000" cy="6858000"/>
  <p:notesSz cx="6797675" cy="9872663"/>
  <p:custDataLst>
    <p:tags r:id="rId4"/>
  </p:custDataLst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3" orient="horz" pos="1502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AC814"/>
    <a:srgbClr val="0F6B36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FC4EF47-530D-4E4A-8718-96AF99812014}" v="53" dt="2024-02-08T21:12:34.79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121" d="100"/>
          <a:sy n="121" d="100"/>
        </p:scale>
        <p:origin x="108" y="96"/>
      </p:cViewPr>
      <p:guideLst>
        <p:guide pos="3840"/>
        <p:guide orient="horz" pos="1502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10" Type="http://schemas.microsoft.com/office/2015/10/relationships/revisionInfo" Target="revisionInfo.xml"/><Relationship Id="rId4" Type="http://schemas.openxmlformats.org/officeDocument/2006/relationships/tags" Target="tags/tag1.xml"/><Relationship Id="rId9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undgren Gestlöf, Johanna" userId="d43d54c6-3ac6-49c5-a060-2ab65d401f25" providerId="ADAL" clId="{0FC4EF47-530D-4E4A-8718-96AF99812014}"/>
    <pc:docChg chg="custSel modSld replTag">
      <pc:chgData name="Lundgren Gestlöf, Johanna" userId="d43d54c6-3ac6-49c5-a060-2ab65d401f25" providerId="ADAL" clId="{0FC4EF47-530D-4E4A-8718-96AF99812014}" dt="2024-02-08T21:12:34.793" v="97" actId="164"/>
      <pc:docMkLst>
        <pc:docMk/>
      </pc:docMkLst>
      <pc:sldChg chg="addSp delSp modSp mod">
        <pc:chgData name="Lundgren Gestlöf, Johanna" userId="d43d54c6-3ac6-49c5-a060-2ab65d401f25" providerId="ADAL" clId="{0FC4EF47-530D-4E4A-8718-96AF99812014}" dt="2024-02-08T21:12:34.793" v="97" actId="164"/>
        <pc:sldMkLst>
          <pc:docMk/>
          <pc:sldMk cId="3467551924" sldId="257"/>
        </pc:sldMkLst>
        <pc:spChg chg="del">
          <ac:chgData name="Lundgren Gestlöf, Johanna" userId="d43d54c6-3ac6-49c5-a060-2ab65d401f25" providerId="ADAL" clId="{0FC4EF47-530D-4E4A-8718-96AF99812014}" dt="2024-02-08T21:09:24.602" v="0" actId="478"/>
          <ac:spMkLst>
            <pc:docMk/>
            <pc:sldMk cId="3467551924" sldId="257"/>
            <ac:spMk id="2" creationId="{DFA1819C-0939-4016-92A2-BF701CFAE6BB}"/>
          </ac:spMkLst>
        </pc:spChg>
        <pc:spChg chg="mod ord">
          <ac:chgData name="Lundgren Gestlöf, Johanna" userId="d43d54c6-3ac6-49c5-a060-2ab65d401f25" providerId="ADAL" clId="{0FC4EF47-530D-4E4A-8718-96AF99812014}" dt="2024-02-08T21:11:14.932" v="23"/>
          <ac:spMkLst>
            <pc:docMk/>
            <pc:sldMk cId="3467551924" sldId="257"/>
            <ac:spMk id="5" creationId="{A4879E75-66C3-4086-B0F1-03B0E24B5649}"/>
          </ac:spMkLst>
        </pc:spChg>
        <pc:spChg chg="add mod ord">
          <ac:chgData name="Lundgren Gestlöf, Johanna" userId="d43d54c6-3ac6-49c5-a060-2ab65d401f25" providerId="ADAL" clId="{0FC4EF47-530D-4E4A-8718-96AF99812014}" dt="2024-02-08T21:12:34.793" v="97" actId="164"/>
          <ac:spMkLst>
            <pc:docMk/>
            <pc:sldMk cId="3467551924" sldId="257"/>
            <ac:spMk id="8" creationId="{0E5DF046-9F98-1244-F219-8A216613DBC6}"/>
          </ac:spMkLst>
        </pc:spChg>
        <pc:spChg chg="del">
          <ac:chgData name="Lundgren Gestlöf, Johanna" userId="d43d54c6-3ac6-49c5-a060-2ab65d401f25" providerId="ADAL" clId="{0FC4EF47-530D-4E4A-8718-96AF99812014}" dt="2024-02-08T21:09:24.602" v="0" actId="478"/>
          <ac:spMkLst>
            <pc:docMk/>
            <pc:sldMk cId="3467551924" sldId="257"/>
            <ac:spMk id="9" creationId="{B0CD3111-DFA3-6657-028C-4E02064A1663}"/>
          </ac:spMkLst>
        </pc:spChg>
        <pc:spChg chg="mod ord">
          <ac:chgData name="Lundgren Gestlöf, Johanna" userId="d43d54c6-3ac6-49c5-a060-2ab65d401f25" providerId="ADAL" clId="{0FC4EF47-530D-4E4A-8718-96AF99812014}" dt="2024-02-08T21:11:14.932" v="33"/>
          <ac:spMkLst>
            <pc:docMk/>
            <pc:sldMk cId="3467551924" sldId="257"/>
            <ac:spMk id="11" creationId="{D5A50316-F297-ED87-5381-83C52DBEB6C4}"/>
          </ac:spMkLst>
        </pc:spChg>
        <pc:spChg chg="add mod ord">
          <ac:chgData name="Lundgren Gestlöf, Johanna" userId="d43d54c6-3ac6-49c5-a060-2ab65d401f25" providerId="ADAL" clId="{0FC4EF47-530D-4E4A-8718-96AF99812014}" dt="2024-02-08T21:12:34.793" v="97" actId="164"/>
          <ac:spMkLst>
            <pc:docMk/>
            <pc:sldMk cId="3467551924" sldId="257"/>
            <ac:spMk id="12" creationId="{027846D0-D510-EEF8-7565-9B7EDB0C4ADB}"/>
          </ac:spMkLst>
        </pc:spChg>
        <pc:spChg chg="mod ord">
          <ac:chgData name="Lundgren Gestlöf, Johanna" userId="d43d54c6-3ac6-49c5-a060-2ab65d401f25" providerId="ADAL" clId="{0FC4EF47-530D-4E4A-8718-96AF99812014}" dt="2024-02-08T21:11:14.932" v="38"/>
          <ac:spMkLst>
            <pc:docMk/>
            <pc:sldMk cId="3467551924" sldId="257"/>
            <ac:spMk id="14" creationId="{BAB91ADE-931C-FB7A-52E0-78E77CB3A192}"/>
          </ac:spMkLst>
        </pc:spChg>
        <pc:spChg chg="add mod ord">
          <ac:chgData name="Lundgren Gestlöf, Johanna" userId="d43d54c6-3ac6-49c5-a060-2ab65d401f25" providerId="ADAL" clId="{0FC4EF47-530D-4E4A-8718-96AF99812014}" dt="2024-02-08T21:12:34.793" v="97" actId="164"/>
          <ac:spMkLst>
            <pc:docMk/>
            <pc:sldMk cId="3467551924" sldId="257"/>
            <ac:spMk id="22" creationId="{296289AE-48D2-4B7B-6808-2C2A49D68EE1}"/>
          </ac:spMkLst>
        </pc:spChg>
        <pc:spChg chg="mod ord">
          <ac:chgData name="Lundgren Gestlöf, Johanna" userId="d43d54c6-3ac6-49c5-a060-2ab65d401f25" providerId="ADAL" clId="{0FC4EF47-530D-4E4A-8718-96AF99812014}" dt="2024-02-08T21:11:14.932" v="25"/>
          <ac:spMkLst>
            <pc:docMk/>
            <pc:sldMk cId="3467551924" sldId="257"/>
            <ac:spMk id="23" creationId="{78D0BE73-1DC9-4174-8F67-075BC810B5C4}"/>
          </ac:spMkLst>
        </pc:spChg>
        <pc:spChg chg="add mod ord">
          <ac:chgData name="Lundgren Gestlöf, Johanna" userId="d43d54c6-3ac6-49c5-a060-2ab65d401f25" providerId="ADAL" clId="{0FC4EF47-530D-4E4A-8718-96AF99812014}" dt="2024-02-08T21:12:34.793" v="97" actId="164"/>
          <ac:spMkLst>
            <pc:docMk/>
            <pc:sldMk cId="3467551924" sldId="257"/>
            <ac:spMk id="27" creationId="{619A7456-E07C-13DF-BAAD-266A161B2C0A}"/>
          </ac:spMkLst>
        </pc:spChg>
        <pc:spChg chg="add mod ord">
          <ac:chgData name="Lundgren Gestlöf, Johanna" userId="d43d54c6-3ac6-49c5-a060-2ab65d401f25" providerId="ADAL" clId="{0FC4EF47-530D-4E4A-8718-96AF99812014}" dt="2024-02-08T21:12:34.793" v="97" actId="164"/>
          <ac:spMkLst>
            <pc:docMk/>
            <pc:sldMk cId="3467551924" sldId="257"/>
            <ac:spMk id="29" creationId="{C0D9AC1E-8D87-A37C-7681-929A06ACE712}"/>
          </ac:spMkLst>
        </pc:spChg>
        <pc:spChg chg="del">
          <ac:chgData name="Lundgren Gestlöf, Johanna" userId="d43d54c6-3ac6-49c5-a060-2ab65d401f25" providerId="ADAL" clId="{0FC4EF47-530D-4E4A-8718-96AF99812014}" dt="2024-02-08T21:09:24.602" v="0" actId="478"/>
          <ac:spMkLst>
            <pc:docMk/>
            <pc:sldMk cId="3467551924" sldId="257"/>
            <ac:spMk id="30" creationId="{DEC0EC23-7357-48EF-A75C-D09F6EB53E63}"/>
          </ac:spMkLst>
        </pc:spChg>
        <pc:spChg chg="del">
          <ac:chgData name="Lundgren Gestlöf, Johanna" userId="d43d54c6-3ac6-49c5-a060-2ab65d401f25" providerId="ADAL" clId="{0FC4EF47-530D-4E4A-8718-96AF99812014}" dt="2024-02-08T21:09:24.602" v="0" actId="478"/>
          <ac:spMkLst>
            <pc:docMk/>
            <pc:sldMk cId="3467551924" sldId="257"/>
            <ac:spMk id="31" creationId="{14421414-96BD-46FA-BFAB-7C9A9BB9CA46}"/>
          </ac:spMkLst>
        </pc:spChg>
        <pc:spChg chg="del">
          <ac:chgData name="Lundgren Gestlöf, Johanna" userId="d43d54c6-3ac6-49c5-a060-2ab65d401f25" providerId="ADAL" clId="{0FC4EF47-530D-4E4A-8718-96AF99812014}" dt="2024-02-08T21:09:24.602" v="0" actId="478"/>
          <ac:spMkLst>
            <pc:docMk/>
            <pc:sldMk cId="3467551924" sldId="257"/>
            <ac:spMk id="32" creationId="{432814F9-051E-4BA5-BF8F-5DEF5103A228}"/>
          </ac:spMkLst>
        </pc:spChg>
        <pc:spChg chg="add del mod">
          <ac:chgData name="Lundgren Gestlöf, Johanna" userId="d43d54c6-3ac6-49c5-a060-2ab65d401f25" providerId="ADAL" clId="{0FC4EF47-530D-4E4A-8718-96AF99812014}" dt="2024-02-08T21:09:49.125" v="4" actId="478"/>
          <ac:spMkLst>
            <pc:docMk/>
            <pc:sldMk cId="3467551924" sldId="257"/>
            <ac:spMk id="36" creationId="{F5FCD021-9A53-F874-57CE-0AE2EF141B80}"/>
          </ac:spMkLst>
        </pc:spChg>
        <pc:spChg chg="add mod ord">
          <ac:chgData name="Lundgren Gestlöf, Johanna" userId="d43d54c6-3ac6-49c5-a060-2ab65d401f25" providerId="ADAL" clId="{0FC4EF47-530D-4E4A-8718-96AF99812014}" dt="2024-02-08T21:12:34.793" v="97" actId="164"/>
          <ac:spMkLst>
            <pc:docMk/>
            <pc:sldMk cId="3467551924" sldId="257"/>
            <ac:spMk id="37" creationId="{A80BC027-B566-12C7-5907-3DA4C8CB7A5C}"/>
          </ac:spMkLst>
        </pc:spChg>
        <pc:spChg chg="mod ord">
          <ac:chgData name="Lundgren Gestlöf, Johanna" userId="d43d54c6-3ac6-49c5-a060-2ab65d401f25" providerId="ADAL" clId="{0FC4EF47-530D-4E4A-8718-96AF99812014}" dt="2024-02-08T21:11:14.932" v="27"/>
          <ac:spMkLst>
            <pc:docMk/>
            <pc:sldMk cId="3467551924" sldId="257"/>
            <ac:spMk id="39" creationId="{AE2E3F7D-C962-4FAD-B489-531036421B9C}"/>
          </ac:spMkLst>
        </pc:spChg>
        <pc:spChg chg="del">
          <ac:chgData name="Lundgren Gestlöf, Johanna" userId="d43d54c6-3ac6-49c5-a060-2ab65d401f25" providerId="ADAL" clId="{0FC4EF47-530D-4E4A-8718-96AF99812014}" dt="2024-02-08T21:09:24.602" v="0" actId="478"/>
          <ac:spMkLst>
            <pc:docMk/>
            <pc:sldMk cId="3467551924" sldId="257"/>
            <ac:spMk id="42" creationId="{E37F6AF0-EB0D-45B4-826B-D20A167CEDBC}"/>
          </ac:spMkLst>
        </pc:spChg>
        <pc:spChg chg="add mod ord">
          <ac:chgData name="Lundgren Gestlöf, Johanna" userId="d43d54c6-3ac6-49c5-a060-2ab65d401f25" providerId="ADAL" clId="{0FC4EF47-530D-4E4A-8718-96AF99812014}" dt="2024-02-08T21:12:34.793" v="97" actId="164"/>
          <ac:spMkLst>
            <pc:docMk/>
            <pc:sldMk cId="3467551924" sldId="257"/>
            <ac:spMk id="47" creationId="{FAF57FF1-C40D-8BA7-074D-E5FE18B62B01}"/>
          </ac:spMkLst>
        </pc:spChg>
        <pc:spChg chg="del">
          <ac:chgData name="Lundgren Gestlöf, Johanna" userId="d43d54c6-3ac6-49c5-a060-2ab65d401f25" providerId="ADAL" clId="{0FC4EF47-530D-4E4A-8718-96AF99812014}" dt="2024-02-08T21:09:24.602" v="0" actId="478"/>
          <ac:spMkLst>
            <pc:docMk/>
            <pc:sldMk cId="3467551924" sldId="257"/>
            <ac:spMk id="53" creationId="{4B622FA4-794D-4D1E-BE63-0F158A035BC8}"/>
          </ac:spMkLst>
        </pc:spChg>
        <pc:spChg chg="mod ord">
          <ac:chgData name="Lundgren Gestlöf, Johanna" userId="d43d54c6-3ac6-49c5-a060-2ab65d401f25" providerId="ADAL" clId="{0FC4EF47-530D-4E4A-8718-96AF99812014}" dt="2024-02-08T21:11:14.932" v="31"/>
          <ac:spMkLst>
            <pc:docMk/>
            <pc:sldMk cId="3467551924" sldId="257"/>
            <ac:spMk id="54" creationId="{70ED56DB-355C-409E-A53A-1AD2EB7E1915}"/>
          </ac:spMkLst>
        </pc:spChg>
        <pc:grpChg chg="add mod">
          <ac:chgData name="Lundgren Gestlöf, Johanna" userId="d43d54c6-3ac6-49c5-a060-2ab65d401f25" providerId="ADAL" clId="{0FC4EF47-530D-4E4A-8718-96AF99812014}" dt="2024-02-08T21:12:34.793" v="97" actId="164"/>
          <ac:grpSpMkLst>
            <pc:docMk/>
            <pc:sldMk cId="3467551924" sldId="257"/>
            <ac:grpSpMk id="49" creationId="{C539248F-7006-E6EA-3097-78B51B9B572E}"/>
          </ac:grpSpMkLst>
        </pc:grpChg>
        <pc:graphicFrameChg chg="mod">
          <ac:chgData name="Lundgren Gestlöf, Johanna" userId="d43d54c6-3ac6-49c5-a060-2ab65d401f25" providerId="ADAL" clId="{0FC4EF47-530D-4E4A-8718-96AF99812014}" dt="2024-02-08T21:11:14.949" v="79"/>
          <ac:graphicFrameMkLst>
            <pc:docMk/>
            <pc:sldMk cId="3467551924" sldId="257"/>
            <ac:graphicFrameMk id="4" creationId="{F40D1AE3-F49C-4BAE-9D7A-D5232A430635}"/>
          </ac:graphicFrameMkLst>
        </pc:graphicFrameChg>
        <pc:graphicFrameChg chg="mod ord">
          <ac:chgData name="Lundgren Gestlöf, Johanna" userId="d43d54c6-3ac6-49c5-a060-2ab65d401f25" providerId="ADAL" clId="{0FC4EF47-530D-4E4A-8718-96AF99812014}" dt="2024-02-08T21:11:14.932" v="29"/>
          <ac:graphicFrameMkLst>
            <pc:docMk/>
            <pc:sldMk cId="3467551924" sldId="257"/>
            <ac:graphicFrameMk id="41" creationId="{C78D0981-382F-4282-81A7-59D26103BD36}"/>
          </ac:graphicFrameMkLst>
        </pc:graphicFrameChg>
        <pc:picChg chg="del">
          <ac:chgData name="Lundgren Gestlöf, Johanna" userId="d43d54c6-3ac6-49c5-a060-2ab65d401f25" providerId="ADAL" clId="{0FC4EF47-530D-4E4A-8718-96AF99812014}" dt="2024-02-08T21:09:24.602" v="0" actId="478"/>
          <ac:picMkLst>
            <pc:docMk/>
            <pc:sldMk cId="3467551924" sldId="257"/>
            <ac:picMk id="3" creationId="{B679A53E-D67E-F5B6-AC7A-505FC5E99493}"/>
          </ac:picMkLst>
        </pc:picChg>
        <pc:picChg chg="mod">
          <ac:chgData name="Lundgren Gestlöf, Johanna" userId="d43d54c6-3ac6-49c5-a060-2ab65d401f25" providerId="ADAL" clId="{0FC4EF47-530D-4E4A-8718-96AF99812014}" dt="2024-02-08T21:11:14.932" v="34"/>
          <ac:picMkLst>
            <pc:docMk/>
            <pc:sldMk cId="3467551924" sldId="257"/>
            <ac:picMk id="6" creationId="{5F136297-4F67-5F29-FFD3-3697F7D61E17}"/>
          </ac:picMkLst>
        </pc:picChg>
        <pc:picChg chg="del">
          <ac:chgData name="Lundgren Gestlöf, Johanna" userId="d43d54c6-3ac6-49c5-a060-2ab65d401f25" providerId="ADAL" clId="{0FC4EF47-530D-4E4A-8718-96AF99812014}" dt="2024-02-08T21:09:27.031" v="1" actId="478"/>
          <ac:picMkLst>
            <pc:docMk/>
            <pc:sldMk cId="3467551924" sldId="257"/>
            <ac:picMk id="10" creationId="{A4A47DC0-9CF8-C861-EB56-D47C0671E81A}"/>
          </ac:picMkLst>
        </pc:picChg>
        <pc:picChg chg="del">
          <ac:chgData name="Lundgren Gestlöf, Johanna" userId="d43d54c6-3ac6-49c5-a060-2ab65d401f25" providerId="ADAL" clId="{0FC4EF47-530D-4E4A-8718-96AF99812014}" dt="2024-02-08T21:09:24.602" v="0" actId="478"/>
          <ac:picMkLst>
            <pc:docMk/>
            <pc:sldMk cId="3467551924" sldId="257"/>
            <ac:picMk id="13" creationId="{D82917B9-ABEA-6087-FA58-433B73040366}"/>
          </ac:picMkLst>
        </pc:picChg>
        <pc:picChg chg="add mod">
          <ac:chgData name="Lundgren Gestlöf, Johanna" userId="d43d54c6-3ac6-49c5-a060-2ab65d401f25" providerId="ADAL" clId="{0FC4EF47-530D-4E4A-8718-96AF99812014}" dt="2024-02-08T21:12:34.793" v="97" actId="164"/>
          <ac:picMkLst>
            <pc:docMk/>
            <pc:sldMk cId="3467551924" sldId="257"/>
            <ac:picMk id="15" creationId="{071B22AF-1610-56FF-A526-BC392803E4A4}"/>
          </ac:picMkLst>
        </pc:picChg>
        <pc:picChg chg="del">
          <ac:chgData name="Lundgren Gestlöf, Johanna" userId="d43d54c6-3ac6-49c5-a060-2ab65d401f25" providerId="ADAL" clId="{0FC4EF47-530D-4E4A-8718-96AF99812014}" dt="2024-02-08T21:09:24.602" v="0" actId="478"/>
          <ac:picMkLst>
            <pc:docMk/>
            <pc:sldMk cId="3467551924" sldId="257"/>
            <ac:picMk id="16" creationId="{0F1E0C54-E17E-51FC-D0B5-2060486DEBA0}"/>
          </ac:picMkLst>
        </pc:picChg>
        <pc:picChg chg="add mod">
          <ac:chgData name="Lundgren Gestlöf, Johanna" userId="d43d54c6-3ac6-49c5-a060-2ab65d401f25" providerId="ADAL" clId="{0FC4EF47-530D-4E4A-8718-96AF99812014}" dt="2024-02-08T21:12:34.793" v="97" actId="164"/>
          <ac:picMkLst>
            <pc:docMk/>
            <pc:sldMk cId="3467551924" sldId="257"/>
            <ac:picMk id="17" creationId="{2149F726-2E0F-F86D-78F8-487D8B40BC7F}"/>
          </ac:picMkLst>
        </pc:picChg>
        <pc:picChg chg="del">
          <ac:chgData name="Lundgren Gestlöf, Johanna" userId="d43d54c6-3ac6-49c5-a060-2ab65d401f25" providerId="ADAL" clId="{0FC4EF47-530D-4E4A-8718-96AF99812014}" dt="2024-02-08T21:09:24.602" v="0" actId="478"/>
          <ac:picMkLst>
            <pc:docMk/>
            <pc:sldMk cId="3467551924" sldId="257"/>
            <ac:picMk id="18" creationId="{81AA12D2-CF75-9A66-76F0-45A1F0FFC3BD}"/>
          </ac:picMkLst>
        </pc:picChg>
        <pc:picChg chg="add mod">
          <ac:chgData name="Lundgren Gestlöf, Johanna" userId="d43d54c6-3ac6-49c5-a060-2ab65d401f25" providerId="ADAL" clId="{0FC4EF47-530D-4E4A-8718-96AF99812014}" dt="2024-02-08T21:12:34.793" v="97" actId="164"/>
          <ac:picMkLst>
            <pc:docMk/>
            <pc:sldMk cId="3467551924" sldId="257"/>
            <ac:picMk id="19" creationId="{52EABD91-C3A7-11DC-B9A1-EBB55CCB56D3}"/>
          </ac:picMkLst>
        </pc:picChg>
        <pc:picChg chg="add mod ord">
          <ac:chgData name="Lundgren Gestlöf, Johanna" userId="d43d54c6-3ac6-49c5-a060-2ab65d401f25" providerId="ADAL" clId="{0FC4EF47-530D-4E4A-8718-96AF99812014}" dt="2024-02-08T21:12:34.793" v="97" actId="164"/>
          <ac:picMkLst>
            <pc:docMk/>
            <pc:sldMk cId="3467551924" sldId="257"/>
            <ac:picMk id="20" creationId="{54F2B23C-8D68-C7B8-A815-D355414FE424}"/>
          </ac:picMkLst>
        </pc:picChg>
        <pc:picChg chg="mod ord">
          <ac:chgData name="Lundgren Gestlöf, Johanna" userId="d43d54c6-3ac6-49c5-a060-2ab65d401f25" providerId="ADAL" clId="{0FC4EF47-530D-4E4A-8718-96AF99812014}" dt="2024-02-08T21:11:14.932" v="36"/>
          <ac:picMkLst>
            <pc:docMk/>
            <pc:sldMk cId="3467551924" sldId="257"/>
            <ac:picMk id="21" creationId="{A7FB0362-9DF6-E498-DDC3-FD405E9E1F37}"/>
          </ac:picMkLst>
        </pc:picChg>
        <pc:picChg chg="add mod">
          <ac:chgData name="Lundgren Gestlöf, Johanna" userId="d43d54c6-3ac6-49c5-a060-2ab65d401f25" providerId="ADAL" clId="{0FC4EF47-530D-4E4A-8718-96AF99812014}" dt="2024-02-08T21:12:34.793" v="97" actId="164"/>
          <ac:picMkLst>
            <pc:docMk/>
            <pc:sldMk cId="3467551924" sldId="257"/>
            <ac:picMk id="24" creationId="{4866999F-CF6C-E181-8088-4F1CE7DF909A}"/>
          </ac:picMkLst>
        </pc:picChg>
        <pc:picChg chg="add mod">
          <ac:chgData name="Lundgren Gestlöf, Johanna" userId="d43d54c6-3ac6-49c5-a060-2ab65d401f25" providerId="ADAL" clId="{0FC4EF47-530D-4E4A-8718-96AF99812014}" dt="2024-02-08T21:12:34.793" v="97" actId="164"/>
          <ac:picMkLst>
            <pc:docMk/>
            <pc:sldMk cId="3467551924" sldId="257"/>
            <ac:picMk id="25" creationId="{9BF03E1F-B33F-1F69-5E75-476F1726E8FC}"/>
          </ac:picMkLst>
        </pc:picChg>
        <pc:picChg chg="add mod">
          <ac:chgData name="Lundgren Gestlöf, Johanna" userId="d43d54c6-3ac6-49c5-a060-2ab65d401f25" providerId="ADAL" clId="{0FC4EF47-530D-4E4A-8718-96AF99812014}" dt="2024-02-08T21:12:34.793" v="97" actId="164"/>
          <ac:picMkLst>
            <pc:docMk/>
            <pc:sldMk cId="3467551924" sldId="257"/>
            <ac:picMk id="26" creationId="{7D49FC5F-76C2-7E88-2524-BAADD9CA8194}"/>
          </ac:picMkLst>
        </pc:picChg>
        <pc:picChg chg="del">
          <ac:chgData name="Lundgren Gestlöf, Johanna" userId="d43d54c6-3ac6-49c5-a060-2ab65d401f25" providerId="ADAL" clId="{0FC4EF47-530D-4E4A-8718-96AF99812014}" dt="2024-02-08T21:09:24.602" v="0" actId="478"/>
          <ac:picMkLst>
            <pc:docMk/>
            <pc:sldMk cId="3467551924" sldId="257"/>
            <ac:picMk id="33" creationId="{99565D8B-2179-4F3D-A8B1-35E086CD918D}"/>
          </ac:picMkLst>
        </pc:picChg>
        <pc:picChg chg="add mod ord">
          <ac:chgData name="Lundgren Gestlöf, Johanna" userId="d43d54c6-3ac6-49c5-a060-2ab65d401f25" providerId="ADAL" clId="{0FC4EF47-530D-4E4A-8718-96AF99812014}" dt="2024-02-08T21:12:34.793" v="97" actId="164"/>
          <ac:picMkLst>
            <pc:docMk/>
            <pc:sldMk cId="3467551924" sldId="257"/>
            <ac:picMk id="38" creationId="{A3538DA5-0436-872E-414E-A919C50EBE18}"/>
          </ac:picMkLst>
        </pc:picChg>
        <pc:picChg chg="add mod ord">
          <ac:chgData name="Lundgren Gestlöf, Johanna" userId="d43d54c6-3ac6-49c5-a060-2ab65d401f25" providerId="ADAL" clId="{0FC4EF47-530D-4E4A-8718-96AF99812014}" dt="2024-02-08T21:12:34.793" v="97" actId="164"/>
          <ac:picMkLst>
            <pc:docMk/>
            <pc:sldMk cId="3467551924" sldId="257"/>
            <ac:picMk id="40" creationId="{2F8DACC9-5515-BA5C-965A-1F16075BFA69}"/>
          </ac:picMkLst>
        </pc:picChg>
        <pc:picChg chg="add mod">
          <ac:chgData name="Lundgren Gestlöf, Johanna" userId="d43d54c6-3ac6-49c5-a060-2ab65d401f25" providerId="ADAL" clId="{0FC4EF47-530D-4E4A-8718-96AF99812014}" dt="2024-02-08T21:12:34.793" v="97" actId="164"/>
          <ac:picMkLst>
            <pc:docMk/>
            <pc:sldMk cId="3467551924" sldId="257"/>
            <ac:picMk id="43" creationId="{22AA743D-30E5-6938-80B0-6329FCD36FEF}"/>
          </ac:picMkLst>
        </pc:picChg>
        <pc:picChg chg="add mod">
          <ac:chgData name="Lundgren Gestlöf, Johanna" userId="d43d54c6-3ac6-49c5-a060-2ab65d401f25" providerId="ADAL" clId="{0FC4EF47-530D-4E4A-8718-96AF99812014}" dt="2024-02-08T21:12:34.793" v="97" actId="164"/>
          <ac:picMkLst>
            <pc:docMk/>
            <pc:sldMk cId="3467551924" sldId="257"/>
            <ac:picMk id="44" creationId="{78AAE48D-4D5C-EE40-8B38-BC4A09208FF3}"/>
          </ac:picMkLst>
        </pc:picChg>
        <pc:picChg chg="add mod">
          <ac:chgData name="Lundgren Gestlöf, Johanna" userId="d43d54c6-3ac6-49c5-a060-2ab65d401f25" providerId="ADAL" clId="{0FC4EF47-530D-4E4A-8718-96AF99812014}" dt="2024-02-08T21:12:34.793" v="97" actId="164"/>
          <ac:picMkLst>
            <pc:docMk/>
            <pc:sldMk cId="3467551924" sldId="257"/>
            <ac:picMk id="45" creationId="{465FF704-FABA-B779-DCC1-56D45D75C8C0}"/>
          </ac:picMkLst>
        </pc:picChg>
        <pc:picChg chg="add mod ord">
          <ac:chgData name="Lundgren Gestlöf, Johanna" userId="d43d54c6-3ac6-49c5-a060-2ab65d401f25" providerId="ADAL" clId="{0FC4EF47-530D-4E4A-8718-96AF99812014}" dt="2024-02-08T21:12:34.793" v="97" actId="164"/>
          <ac:picMkLst>
            <pc:docMk/>
            <pc:sldMk cId="3467551924" sldId="257"/>
            <ac:picMk id="46" creationId="{B51AC78A-413C-EA9B-4D7B-1B3A4339D9D1}"/>
          </ac:picMkLst>
        </pc:picChg>
        <pc:picChg chg="del">
          <ac:chgData name="Lundgren Gestlöf, Johanna" userId="d43d54c6-3ac6-49c5-a060-2ab65d401f25" providerId="ADAL" clId="{0FC4EF47-530D-4E4A-8718-96AF99812014}" dt="2024-02-08T21:09:24.602" v="0" actId="478"/>
          <ac:picMkLst>
            <pc:docMk/>
            <pc:sldMk cId="3467551924" sldId="257"/>
            <ac:picMk id="50" creationId="{FC184389-C52C-4449-8290-A17AD3AB9775}"/>
          </ac:picMkLst>
        </pc:picChg>
        <pc:picChg chg="del">
          <ac:chgData name="Lundgren Gestlöf, Johanna" userId="d43d54c6-3ac6-49c5-a060-2ab65d401f25" providerId="ADAL" clId="{0FC4EF47-530D-4E4A-8718-96AF99812014}" dt="2024-02-08T21:09:24.602" v="0" actId="478"/>
          <ac:picMkLst>
            <pc:docMk/>
            <pc:sldMk cId="3467551924" sldId="257"/>
            <ac:picMk id="51" creationId="{37972C7C-B39C-4355-92E0-E105298EF3D4}"/>
          </ac:picMkLst>
        </pc:picChg>
        <pc:picChg chg="del">
          <ac:chgData name="Lundgren Gestlöf, Johanna" userId="d43d54c6-3ac6-49c5-a060-2ab65d401f25" providerId="ADAL" clId="{0FC4EF47-530D-4E4A-8718-96AF99812014}" dt="2024-02-08T21:09:24.602" v="0" actId="478"/>
          <ac:picMkLst>
            <pc:docMk/>
            <pc:sldMk cId="3467551924" sldId="257"/>
            <ac:picMk id="52" creationId="{15598317-0B24-4FDF-87E5-C263C02167FA}"/>
          </ac:picMkLst>
        </pc:picChg>
        <pc:picChg chg="del">
          <ac:chgData name="Lundgren Gestlöf, Johanna" userId="d43d54c6-3ac6-49c5-a060-2ab65d401f25" providerId="ADAL" clId="{0FC4EF47-530D-4E4A-8718-96AF99812014}" dt="2024-02-08T21:09:24.602" v="0" actId="478"/>
          <ac:picMkLst>
            <pc:docMk/>
            <pc:sldMk cId="3467551924" sldId="257"/>
            <ac:picMk id="2050" creationId="{43DE4D7F-5656-47D4-BEF8-696AF00C6C48}"/>
          </ac:picMkLst>
        </pc:picChg>
        <pc:picChg chg="del">
          <ac:chgData name="Lundgren Gestlöf, Johanna" userId="d43d54c6-3ac6-49c5-a060-2ab65d401f25" providerId="ADAL" clId="{0FC4EF47-530D-4E4A-8718-96AF99812014}" dt="2024-02-08T21:09:24.602" v="0" actId="478"/>
          <ac:picMkLst>
            <pc:docMk/>
            <pc:sldMk cId="3467551924" sldId="257"/>
            <ac:picMk id="2052" creationId="{98066BE8-2FF4-40F5-A5E1-3B1B23958C4B}"/>
          </ac:picMkLst>
        </pc:picChg>
        <pc:picChg chg="del">
          <ac:chgData name="Lundgren Gestlöf, Johanna" userId="d43d54c6-3ac6-49c5-a060-2ab65d401f25" providerId="ADAL" clId="{0FC4EF47-530D-4E4A-8718-96AF99812014}" dt="2024-02-08T21:09:24.602" v="0" actId="478"/>
          <ac:picMkLst>
            <pc:docMk/>
            <pc:sldMk cId="3467551924" sldId="257"/>
            <ac:picMk id="2054" creationId="{6242A4D8-CEBA-C325-14DA-22E08EA7AF07}"/>
          </ac:picMkLst>
        </pc:picChg>
        <pc:picChg chg="del">
          <ac:chgData name="Lundgren Gestlöf, Johanna" userId="d43d54c6-3ac6-49c5-a060-2ab65d401f25" providerId="ADAL" clId="{0FC4EF47-530D-4E4A-8718-96AF99812014}" dt="2024-02-08T21:09:24.602" v="0" actId="478"/>
          <ac:picMkLst>
            <pc:docMk/>
            <pc:sldMk cId="3467551924" sldId="257"/>
            <ac:picMk id="3082" creationId="{81D8C76A-CEFF-4FC6-A8D5-58B99DA823B0}"/>
          </ac:picMkLst>
        </pc:picChg>
        <pc:picChg chg="del">
          <ac:chgData name="Lundgren Gestlöf, Johanna" userId="d43d54c6-3ac6-49c5-a060-2ab65d401f25" providerId="ADAL" clId="{0FC4EF47-530D-4E4A-8718-96AF99812014}" dt="2024-02-08T21:09:24.602" v="0" actId="478"/>
          <ac:picMkLst>
            <pc:docMk/>
            <pc:sldMk cId="3467551924" sldId="257"/>
            <ac:picMk id="3086" creationId="{5DAEF7BE-B22C-4B4D-A8A9-D3117C02C99B}"/>
          </ac:picMkLst>
        </pc:picChg>
        <pc:cxnChg chg="del">
          <ac:chgData name="Lundgren Gestlöf, Johanna" userId="d43d54c6-3ac6-49c5-a060-2ab65d401f25" providerId="ADAL" clId="{0FC4EF47-530D-4E4A-8718-96AF99812014}" dt="2024-02-08T21:09:24.602" v="0" actId="478"/>
          <ac:cxnSpMkLst>
            <pc:docMk/>
            <pc:sldMk cId="3467551924" sldId="257"/>
            <ac:cxnSpMk id="7" creationId="{9F8F83E1-F2DA-46FD-8274-970815A12C70}"/>
          </ac:cxnSpMkLst>
        </pc:cxnChg>
        <pc:cxnChg chg="add mod ord">
          <ac:chgData name="Lundgren Gestlöf, Johanna" userId="d43d54c6-3ac6-49c5-a060-2ab65d401f25" providerId="ADAL" clId="{0FC4EF47-530D-4E4A-8718-96AF99812014}" dt="2024-02-08T21:12:34.793" v="97" actId="164"/>
          <ac:cxnSpMkLst>
            <pc:docMk/>
            <pc:sldMk cId="3467551924" sldId="257"/>
            <ac:cxnSpMk id="28" creationId="{84BF30D7-B733-2DFF-F549-5357367B827B}"/>
          </ac:cxnSpMkLst>
        </pc:cxnChg>
        <pc:cxnChg chg="add mod ord">
          <ac:chgData name="Lundgren Gestlöf, Johanna" userId="d43d54c6-3ac6-49c5-a060-2ab65d401f25" providerId="ADAL" clId="{0FC4EF47-530D-4E4A-8718-96AF99812014}" dt="2024-02-08T21:12:34.793" v="97" actId="164"/>
          <ac:cxnSpMkLst>
            <pc:docMk/>
            <pc:sldMk cId="3467551924" sldId="257"/>
            <ac:cxnSpMk id="34" creationId="{4808D11A-0436-3CA4-1167-7E822E766CAA}"/>
          </ac:cxnSpMkLst>
        </pc:cxnChg>
        <pc:cxnChg chg="del">
          <ac:chgData name="Lundgren Gestlöf, Johanna" userId="d43d54c6-3ac6-49c5-a060-2ab65d401f25" providerId="ADAL" clId="{0FC4EF47-530D-4E4A-8718-96AF99812014}" dt="2024-02-08T21:09:24.602" v="0" actId="478"/>
          <ac:cxnSpMkLst>
            <pc:docMk/>
            <pc:sldMk cId="3467551924" sldId="257"/>
            <ac:cxnSpMk id="35" creationId="{C200874B-21CA-4925-9A85-EE236D337169}"/>
          </ac:cxnSpMkLst>
        </pc:cxnChg>
        <pc:cxnChg chg="add mod ord">
          <ac:chgData name="Lundgren Gestlöf, Johanna" userId="d43d54c6-3ac6-49c5-a060-2ab65d401f25" providerId="ADAL" clId="{0FC4EF47-530D-4E4A-8718-96AF99812014}" dt="2024-02-08T21:12:34.793" v="97" actId="164"/>
          <ac:cxnSpMkLst>
            <pc:docMk/>
            <pc:sldMk cId="3467551924" sldId="257"/>
            <ac:cxnSpMk id="48" creationId="{519DFD2F-FD77-4628-2D48-7B72ADE33117}"/>
          </ac:cxnSpMkLst>
        </pc:cxnChg>
      </pc:sld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52C16D-75E7-463A-A738-24C3CABE54D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2329E37-61ED-4094-A1F3-64C444CBA9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sv-S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8B997FC-B748-4CE7-9F58-A1541F2DC9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90B65C-5297-4D16-8A79-3D3A02627FFF}" type="datetimeFigureOut">
              <a:rPr lang="sv-SE" smtClean="0"/>
              <a:t>2024-02-08</a:t>
            </a:fld>
            <a:endParaRPr lang="sv-S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FFD319D-8681-4657-B25C-02046A8D6B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C052B6B-2D2E-494D-B13C-637FC4686A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80DEEC-3FD1-4AB9-A57B-333F0CB76EE4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85885748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50131F-380B-48F0-905D-68AE4D0C70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1305358-DE2E-4269-8F4A-68AD166B32E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CE84700-7CDB-4270-8A00-E565476F57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90B65C-5297-4D16-8A79-3D3A02627FFF}" type="datetimeFigureOut">
              <a:rPr lang="sv-SE" smtClean="0"/>
              <a:t>2024-02-08</a:t>
            </a:fld>
            <a:endParaRPr lang="sv-S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2900735-47E0-4E94-BC9B-5BC436DBA1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D13E1C-1D1C-4E07-8A72-7A204B97FE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80DEEC-3FD1-4AB9-A57B-333F0CB76EE4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67307201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0E1A8CC-C533-4310-B174-845DC1D0C58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6D13CFE-3631-466A-9D3E-7CEE1D8370B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ABDBFCC-B476-414D-9E35-5109DAB815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90B65C-5297-4D16-8A79-3D3A02627FFF}" type="datetimeFigureOut">
              <a:rPr lang="sv-SE" smtClean="0"/>
              <a:t>2024-02-08</a:t>
            </a:fld>
            <a:endParaRPr lang="sv-S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2C1E48-B844-4473-A813-D108B2F070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7A5CC2D-7D45-4D54-9463-62B7141246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80DEEC-3FD1-4AB9-A57B-333F0CB76EE4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56000460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7207CD-B43C-406D-A09B-4B1520EE3F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6937A9F-F9B4-4364-A0D4-85B3E09CA11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B99D242-E443-486C-8147-0A7612AF79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90B65C-5297-4D16-8A79-3D3A02627FFF}" type="datetimeFigureOut">
              <a:rPr lang="sv-SE" smtClean="0"/>
              <a:t>2024-02-08</a:t>
            </a:fld>
            <a:endParaRPr lang="sv-S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EC27791-2137-4ACC-B05B-405C9CD777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7ECACF1-7DD8-4827-A548-A619B2E97E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80DEEC-3FD1-4AB9-A57B-333F0CB76EE4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9446938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F4CDA9-4BCE-4AD4-9AC4-500B9B49B6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9532304-5F5D-4A07-B366-34D2F422CB9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F360A42-0AFE-42EF-B934-76E47DCDCF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90B65C-5297-4D16-8A79-3D3A02627FFF}" type="datetimeFigureOut">
              <a:rPr lang="sv-SE" smtClean="0"/>
              <a:t>2024-02-08</a:t>
            </a:fld>
            <a:endParaRPr lang="sv-S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C0A81F7-EDF8-4A18-B40B-9EE9DB82E6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4B26E40-E02F-4811-BC7E-3C47BAE1A6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80DEEC-3FD1-4AB9-A57B-333F0CB76EE4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7836823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22F36D-3335-4A2A-A156-443B2B7300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C937C20-FD41-4AAB-9CDE-BA78B2B13AB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DB91DF8-0DAD-4DED-8B3F-E361F3F05F4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4D71DE5-BFF4-4AB9-BE74-77AC3039D4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90B65C-5297-4D16-8A79-3D3A02627FFF}" type="datetimeFigureOut">
              <a:rPr lang="sv-SE" smtClean="0"/>
              <a:t>2024-02-08</a:t>
            </a:fld>
            <a:endParaRPr lang="sv-S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735D54B-060C-4DB2-A473-E9B270AF30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8176D3F-81F2-4C2A-A95F-E081A60E78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80DEEC-3FD1-4AB9-A57B-333F0CB76EE4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34298657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534909-A607-4A15-84D8-CD79E45371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936E90A-1331-47F9-9A97-EE158D02FCC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4E9F09C-2493-4F8F-B77F-E7FE9D960EB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ABD8786-FB21-4D3B-BFB6-1732654C103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B9D84B6-E50C-41B4-9DF8-B3DE8EDEBB9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F7DBAD3-4555-404A-A7BD-F868C9FC81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90B65C-5297-4D16-8A79-3D3A02627FFF}" type="datetimeFigureOut">
              <a:rPr lang="sv-SE" smtClean="0"/>
              <a:t>2024-02-08</a:t>
            </a:fld>
            <a:endParaRPr lang="sv-SE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ED7529E-3906-4F35-A825-523BEB8D1C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701A91F-FEFC-4046-8424-9E3FB0C04D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80DEEC-3FD1-4AB9-A57B-333F0CB76EE4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87320391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28265B-E06B-4624-B3E5-F14DC671AF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F712C52-BA99-46E9-96DA-CF6D742D52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90B65C-5297-4D16-8A79-3D3A02627FFF}" type="datetimeFigureOut">
              <a:rPr lang="sv-SE" smtClean="0"/>
              <a:t>2024-02-08</a:t>
            </a:fld>
            <a:endParaRPr lang="sv-S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0DA7E39-218C-495D-8732-EEFD354043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C1B0B4C-877B-4A9F-9168-C72DCA5259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80DEEC-3FD1-4AB9-A57B-333F0CB76EE4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5700881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C998856-022C-4565-95FF-DA3E4E38F8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90B65C-5297-4D16-8A79-3D3A02627FFF}" type="datetimeFigureOut">
              <a:rPr lang="sv-SE" smtClean="0"/>
              <a:t>2024-02-08</a:t>
            </a:fld>
            <a:endParaRPr lang="sv-S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A95726-F5B4-4704-858E-F8DB32155A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F9F06E4-659F-4571-BEB6-FB740DA2EE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80DEEC-3FD1-4AB9-A57B-333F0CB76EE4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68522527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DBCC57-B315-4BDB-A404-FD91E8E0AD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D7ADBE6-8B8F-4EE1-8C6B-46758FB3895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E6D2376-CC22-49BB-B871-60752E46AA9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FE37FD2-54E8-4EA7-99CF-21E17030BE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90B65C-5297-4D16-8A79-3D3A02627FFF}" type="datetimeFigureOut">
              <a:rPr lang="sv-SE" smtClean="0"/>
              <a:t>2024-02-08</a:t>
            </a:fld>
            <a:endParaRPr lang="sv-S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290373E-5C1B-43A5-908D-13AE555210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BF365B5-E1D0-4DEF-A9D3-30C5379416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80DEEC-3FD1-4AB9-A57B-333F0CB76EE4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19439227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01A708-1EC2-4865-BAC5-62AAFCC529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AE57114-9A32-4394-922E-88A73B19130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sv-S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94C9FB3-9284-46CF-9A1E-3549907D90A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4721370-A6C6-4233-A4E6-F85C70DF13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90B65C-5297-4D16-8A79-3D3A02627FFF}" type="datetimeFigureOut">
              <a:rPr lang="sv-SE" smtClean="0"/>
              <a:t>2024-02-08</a:t>
            </a:fld>
            <a:endParaRPr lang="sv-S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528C1F0-C9D9-41FB-838E-3D5A47BBD2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36592B7-025B-4536-A86F-A8C2ACD3D5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80DEEC-3FD1-4AB9-A57B-333F0CB76EE4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01323510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4E2A2A7-9E4F-4905-8F23-5BFFF314F4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2251751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592" imgH="595" progId="TCLayout.ActiveDocument.1">
                  <p:embed/>
                </p:oleObj>
              </mc:Choice>
              <mc:Fallback>
                <p:oleObj name="think-cell Slide" r:id="rId14" imgW="592" imgH="59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4E2A2A7-9E4F-4905-8F23-5BFFF314F4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4C95767-05BB-4B65-9467-78E9089431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2FAE588-D214-4955-9C3E-BBDA7330E2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A71E025-C1AD-465F-903F-6A334021E3E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390B65C-5297-4D16-8A79-3D3A02627FFF}" type="datetimeFigureOut">
              <a:rPr lang="sv-SE" smtClean="0"/>
              <a:t>2024-02-08</a:t>
            </a:fld>
            <a:endParaRPr lang="sv-S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55D29A2-9F3D-4942-BDEC-E82D8FEF2B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sv-S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C58801D-575A-4C64-BAF3-CDE07D7ED13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B80DEEC-3FD1-4AB9-A57B-333F0CB76EE4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8209409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4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13" Type="http://schemas.openxmlformats.org/officeDocument/2006/relationships/image" Target="../media/image13.jpg"/><Relationship Id="rId18" Type="http://schemas.openxmlformats.org/officeDocument/2006/relationships/image" Target="../media/image18.png"/><Relationship Id="rId3" Type="http://schemas.openxmlformats.org/officeDocument/2006/relationships/oleObject" Target="../embeddings/oleObject3.bin"/><Relationship Id="rId7" Type="http://schemas.openxmlformats.org/officeDocument/2006/relationships/image" Target="../media/image7.png"/><Relationship Id="rId12" Type="http://schemas.openxmlformats.org/officeDocument/2006/relationships/image" Target="../media/image12.png"/><Relationship Id="rId17" Type="http://schemas.openxmlformats.org/officeDocument/2006/relationships/image" Target="../media/image17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6.png"/><Relationship Id="rId1" Type="http://schemas.openxmlformats.org/officeDocument/2006/relationships/tags" Target="../tags/tag4.xml"/><Relationship Id="rId6" Type="http://schemas.openxmlformats.org/officeDocument/2006/relationships/image" Target="../media/image6.png"/><Relationship Id="rId11" Type="http://schemas.openxmlformats.org/officeDocument/2006/relationships/image" Target="../media/image11.png"/><Relationship Id="rId5" Type="http://schemas.openxmlformats.org/officeDocument/2006/relationships/image" Target="../media/image5.jpeg"/><Relationship Id="rId15" Type="http://schemas.openxmlformats.org/officeDocument/2006/relationships/image" Target="../media/image15.png"/><Relationship Id="rId10" Type="http://schemas.openxmlformats.org/officeDocument/2006/relationships/image" Target="../media/image10.png"/><Relationship Id="rId19" Type="http://schemas.openxmlformats.org/officeDocument/2006/relationships/image" Target="../media/image19.jpeg"/><Relationship Id="rId4" Type="http://schemas.openxmlformats.org/officeDocument/2006/relationships/image" Target="../media/image1.emf"/><Relationship Id="rId9" Type="http://schemas.openxmlformats.org/officeDocument/2006/relationships/image" Target="../media/image9.jpeg"/><Relationship Id="rId14" Type="http://schemas.openxmlformats.org/officeDocument/2006/relationships/image" Target="../media/image1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7A08012-C011-434B-944F-A10991661CC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66683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7A08012-C011-434B-944F-A10991661C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F054939F-DF40-47E7-AC53-B0190A97407C}"/>
              </a:ext>
            </a:extLst>
          </p:cNvPr>
          <p:cNvSpPr txBox="1"/>
          <p:nvPr/>
        </p:nvSpPr>
        <p:spPr>
          <a:xfrm>
            <a:off x="6553200" y="544309"/>
            <a:ext cx="5181600" cy="10464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2000" b="1" dirty="0"/>
              <a:t>Matchprogram Elitserien</a:t>
            </a:r>
            <a:endParaRPr lang="sv-SE" sz="2400" b="1" dirty="0"/>
          </a:p>
          <a:p>
            <a:pPr algn="ctr"/>
            <a:r>
              <a:rPr lang="sv-SE" sz="2400" b="1" dirty="0" err="1"/>
              <a:t>Södertelge</a:t>
            </a:r>
            <a:r>
              <a:rPr lang="sv-SE" sz="2400" b="1" dirty="0"/>
              <a:t> VBK – XX</a:t>
            </a:r>
          </a:p>
          <a:p>
            <a:pPr algn="ctr"/>
            <a:r>
              <a:rPr lang="sv-SE" dirty="0"/>
              <a:t>20xx-xx-xx</a:t>
            </a:r>
          </a:p>
        </p:txBody>
      </p:sp>
      <p:pic>
        <p:nvPicPr>
          <p:cNvPr id="1028" name="Picture 4" descr="Södertelge VBK - Volleyboll - IdrottOnline Klubb">
            <a:extLst>
              <a:ext uri="{FF2B5EF4-FFF2-40B4-BE49-F238E27FC236}">
                <a16:creationId xmlns:a16="http://schemas.microsoft.com/office/drawing/2014/main" id="{CC5512DB-6339-4387-8359-8A5635B7E3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76051" y="5846282"/>
            <a:ext cx="987527" cy="7643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4" descr="Instagram folj oss2 | Nårsab Rivningsfirma Norrköping">
            <a:extLst>
              <a:ext uri="{FF2B5EF4-FFF2-40B4-BE49-F238E27FC236}">
                <a16:creationId xmlns:a16="http://schemas.microsoft.com/office/drawing/2014/main" id="{30630D7E-C606-41CE-AF1E-0F0899BFF9D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9820"/>
          <a:stretch/>
        </p:blipFill>
        <p:spPr bwMode="auto">
          <a:xfrm>
            <a:off x="7378879" y="5476950"/>
            <a:ext cx="343520" cy="3693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7FC94978-67DC-47D4-80AA-4CA37BFBCF75}"/>
              </a:ext>
            </a:extLst>
          </p:cNvPr>
          <p:cNvSpPr txBox="1"/>
          <p:nvPr/>
        </p:nvSpPr>
        <p:spPr>
          <a:xfrm>
            <a:off x="7722399" y="5495535"/>
            <a:ext cx="371306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400" dirty="0"/>
              <a:t>Följ oss gärna på </a:t>
            </a:r>
            <a:r>
              <a:rPr lang="sv-SE" sz="1400" dirty="0" err="1"/>
              <a:t>Instagram</a:t>
            </a:r>
            <a:r>
              <a:rPr lang="sv-SE" sz="1400" dirty="0"/>
              <a:t>! @sodertelgevbk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FC5AA7D-0ED4-4BD7-5D3F-253E7A134371}"/>
              </a:ext>
            </a:extLst>
          </p:cNvPr>
          <p:cNvSpPr txBox="1"/>
          <p:nvPr/>
        </p:nvSpPr>
        <p:spPr>
          <a:xfrm>
            <a:off x="228422" y="197691"/>
            <a:ext cx="29809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b="1" dirty="0"/>
              <a:t>Laguppställning SVBK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2B75A256-B30F-F304-7073-AB878F0FE81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03114244"/>
              </p:ext>
            </p:extLst>
          </p:nvPr>
        </p:nvGraphicFramePr>
        <p:xfrm>
          <a:off x="394986" y="536799"/>
          <a:ext cx="5365664" cy="2728908"/>
        </p:xfrm>
        <a:graphic>
          <a:graphicData uri="http://schemas.openxmlformats.org/drawingml/2006/table">
            <a:tbl>
              <a:tblPr/>
              <a:tblGrid>
                <a:gridCol w="288400">
                  <a:extLst>
                    <a:ext uri="{9D8B030D-6E8A-4147-A177-3AD203B41FA5}">
                      <a16:colId xmlns:a16="http://schemas.microsoft.com/office/drawing/2014/main" val="1506607610"/>
                    </a:ext>
                  </a:extLst>
                </a:gridCol>
                <a:gridCol w="1466923">
                  <a:extLst>
                    <a:ext uri="{9D8B030D-6E8A-4147-A177-3AD203B41FA5}">
                      <a16:colId xmlns:a16="http://schemas.microsoft.com/office/drawing/2014/main" val="3740102250"/>
                    </a:ext>
                  </a:extLst>
                </a:gridCol>
                <a:gridCol w="1011181">
                  <a:extLst>
                    <a:ext uri="{9D8B030D-6E8A-4147-A177-3AD203B41FA5}">
                      <a16:colId xmlns:a16="http://schemas.microsoft.com/office/drawing/2014/main" val="3253858960"/>
                    </a:ext>
                  </a:extLst>
                </a:gridCol>
                <a:gridCol w="459304">
                  <a:extLst>
                    <a:ext uri="{9D8B030D-6E8A-4147-A177-3AD203B41FA5}">
                      <a16:colId xmlns:a16="http://schemas.microsoft.com/office/drawing/2014/main" val="3778907912"/>
                    </a:ext>
                  </a:extLst>
                </a:gridCol>
                <a:gridCol w="726341">
                  <a:extLst>
                    <a:ext uri="{9D8B030D-6E8A-4147-A177-3AD203B41FA5}">
                      <a16:colId xmlns:a16="http://schemas.microsoft.com/office/drawing/2014/main" val="2114940596"/>
                    </a:ext>
                  </a:extLst>
                </a:gridCol>
                <a:gridCol w="740582">
                  <a:extLst>
                    <a:ext uri="{9D8B030D-6E8A-4147-A177-3AD203B41FA5}">
                      <a16:colId xmlns:a16="http://schemas.microsoft.com/office/drawing/2014/main" val="3466884199"/>
                    </a:ext>
                  </a:extLst>
                </a:gridCol>
                <a:gridCol w="672933">
                  <a:extLst>
                    <a:ext uri="{9D8B030D-6E8A-4147-A177-3AD203B41FA5}">
                      <a16:colId xmlns:a16="http://schemas.microsoft.com/office/drawing/2014/main" val="2136065380"/>
                    </a:ext>
                  </a:extLst>
                </a:gridCol>
              </a:tblGrid>
              <a:tr h="151606">
                <a:tc>
                  <a:txBody>
                    <a:bodyPr/>
                    <a:lstStyle/>
                    <a:p>
                      <a:pPr algn="ctr" fontAlgn="b"/>
                      <a:r>
                        <a:rPr lang="sv-SE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#</a:t>
                      </a:r>
                    </a:p>
                  </a:txBody>
                  <a:tcPr marL="8917" marR="8917" marT="891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amn</a:t>
                      </a:r>
                    </a:p>
                  </a:txBody>
                  <a:tcPr marL="8917" marR="8917" marT="891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oll</a:t>
                      </a:r>
                    </a:p>
                  </a:txBody>
                  <a:tcPr marL="8917" marR="8917" marT="891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Längd</a:t>
                      </a:r>
                    </a:p>
                  </a:txBody>
                  <a:tcPr marL="8917" marR="8917" marT="891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8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ödelseår</a:t>
                      </a:r>
                    </a:p>
                  </a:txBody>
                  <a:tcPr marL="8917" marR="8917" marT="891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8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pikehöjd</a:t>
                      </a:r>
                    </a:p>
                  </a:txBody>
                  <a:tcPr marL="8917" marR="8917" marT="891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äckhöjd</a:t>
                      </a:r>
                    </a:p>
                  </a:txBody>
                  <a:tcPr marL="8917" marR="8917" marT="891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4799408"/>
                  </a:ext>
                </a:extLst>
              </a:tr>
              <a:tr h="151606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sv-S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sv-S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Oliver </a:t>
                      </a:r>
                      <a:r>
                        <a:rPr lang="sv-SE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axlund</a:t>
                      </a:r>
                      <a:endParaRPr lang="sv-SE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sv-SE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ibero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sv-SE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8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sv-SE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0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sv-SE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1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sv-SE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4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41446916"/>
                  </a:ext>
                </a:extLst>
              </a:tr>
              <a:tr h="151606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sv-SE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sv-S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ario </a:t>
                      </a:r>
                      <a:r>
                        <a:rPr lang="sv-SE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umancic</a:t>
                      </a:r>
                      <a:endParaRPr lang="sv-SE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sv-SE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Vänsterspiker</a:t>
                      </a:r>
                      <a:endParaRPr lang="sv-SE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sv-SE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8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sv-SE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0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sv-SE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2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sv-SE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4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50487416"/>
                  </a:ext>
                </a:extLst>
              </a:tr>
              <a:tr h="151606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sv-SE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sv-SE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asmus Ling-Walld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sv-SE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enter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sv-SE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9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sv-SE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0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sv-SE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1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sv-SE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5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88932480"/>
                  </a:ext>
                </a:extLst>
              </a:tr>
              <a:tr h="151606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sv-SE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sv-S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lfred Mjörnheim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sv-SE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Vänsterspiker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sv-SE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8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sv-S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0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sv-SE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2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sv-SE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5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3430804"/>
                  </a:ext>
                </a:extLst>
              </a:tr>
              <a:tr h="151606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sv-SE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sv-S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nton Wessberg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sv-SE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assare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sv-SE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7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sv-SE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0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sv-SE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9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sv-SE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2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58867246"/>
                  </a:ext>
                </a:extLst>
              </a:tr>
              <a:tr h="151606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sv-SE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sv-SE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Gustav Mjörnheim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sv-SE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assare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sv-SE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8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sv-S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0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sv-SE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0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sv-SE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3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57546044"/>
                  </a:ext>
                </a:extLst>
              </a:tr>
              <a:tr h="151606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sv-SE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sv-SE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ukas Jajo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sv-SE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enter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sv-SE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8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sv-SE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0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sv-SE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1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sv-SE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5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97388980"/>
                  </a:ext>
                </a:extLst>
              </a:tr>
              <a:tr h="151606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sv-SE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sv-SE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eo Broady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sv-S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enter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sv-SE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9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sv-SE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0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sv-SE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2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sv-SE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5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32114640"/>
                  </a:ext>
                </a:extLst>
              </a:tr>
              <a:tr h="151606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sv-SE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sv-SE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Isak Björnsjö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sv-SE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Vänsterspiker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sv-SE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8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sv-SE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0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sv-SE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1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sv-SE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4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3499190"/>
                  </a:ext>
                </a:extLst>
              </a:tr>
              <a:tr h="151606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sv-SE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sv-SE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iam Thynne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sv-SE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Vänsterspiker</a:t>
                      </a:r>
                      <a:endParaRPr lang="sv-SE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sv-SE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9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sv-SE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0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sv-SE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sv-SE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38154458"/>
                  </a:ext>
                </a:extLst>
              </a:tr>
              <a:tr h="151606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sv-S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sv-S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Melker Nordi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sv-SE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Vänsterspiker</a:t>
                      </a:r>
                      <a:endParaRPr lang="sv-SE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sv-S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9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sv-S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0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sv-S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2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sv-S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5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9553868"/>
                  </a:ext>
                </a:extLst>
              </a:tr>
              <a:tr h="151606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sv-S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sv-S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Fabian Olanders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sv-SE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Vänsterspiker</a:t>
                      </a:r>
                      <a:endParaRPr lang="sv-SE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sv-S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8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sv-S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0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sv-S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1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sv-S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5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27187665"/>
                  </a:ext>
                </a:extLst>
              </a:tr>
              <a:tr h="151606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sv-SE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sv-SE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Mattias Forsberg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sv-S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enter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sv-SE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8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sv-SE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99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sv-SE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1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sv-S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4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54649399"/>
                  </a:ext>
                </a:extLst>
              </a:tr>
              <a:tr h="151606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sv-SE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sv-S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drian </a:t>
                      </a:r>
                      <a:r>
                        <a:rPr lang="sv-SE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abanne</a:t>
                      </a:r>
                      <a:endParaRPr lang="sv-SE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sv-S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enter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sv-SE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9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sv-SE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0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sv-SE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2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sv-S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6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88511202"/>
                  </a:ext>
                </a:extLst>
              </a:tr>
              <a:tr h="151606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sv-SE" sz="800" b="0" i="0" u="none" strike="noStrike" kern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sv-SE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sv-SE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sv-SE" sz="800" b="0" i="0" u="none" strike="noStrike" kern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sv-SE" sz="800" b="0" i="0" u="none" strike="noStrike" kern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sv-SE" sz="800" b="0" i="0" u="none" strike="noStrike" kern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sv-SE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07291397"/>
                  </a:ext>
                </a:extLst>
              </a:tr>
              <a:tr h="151606">
                <a:tc>
                  <a:txBody>
                    <a:bodyPr/>
                    <a:lstStyle/>
                    <a:p>
                      <a:pPr algn="l" fontAlgn="b"/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Bart Janss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oach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sv-SE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sv-SE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8589765"/>
                  </a:ext>
                </a:extLst>
              </a:tr>
              <a:tr h="151606">
                <a:tc>
                  <a:txBody>
                    <a:bodyPr/>
                    <a:lstStyle/>
                    <a:p>
                      <a:pPr algn="l" fontAlgn="b"/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Lasse Broström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sv-S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ssisterande coach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sv-SE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sv-SE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5029863"/>
                  </a:ext>
                </a:extLst>
              </a:tr>
            </a:tbl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5EBEC968-95BB-648E-6341-99B94C1E74B1}"/>
              </a:ext>
            </a:extLst>
          </p:cNvPr>
          <p:cNvSpPr txBox="1"/>
          <p:nvPr/>
        </p:nvSpPr>
        <p:spPr>
          <a:xfrm>
            <a:off x="249706" y="3299515"/>
            <a:ext cx="377503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b="1" dirty="0"/>
              <a:t>Laguppställning XX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38570E37-173D-EA27-53B7-B220AF8EB6A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91118084"/>
              </p:ext>
            </p:extLst>
          </p:nvPr>
        </p:nvGraphicFramePr>
        <p:xfrm>
          <a:off x="416270" y="3647476"/>
          <a:ext cx="5367600" cy="2426352"/>
        </p:xfrm>
        <a:graphic>
          <a:graphicData uri="http://schemas.openxmlformats.org/drawingml/2006/table">
            <a:tbl>
              <a:tblPr/>
              <a:tblGrid>
                <a:gridCol w="288504">
                  <a:extLst>
                    <a:ext uri="{9D8B030D-6E8A-4147-A177-3AD203B41FA5}">
                      <a16:colId xmlns:a16="http://schemas.microsoft.com/office/drawing/2014/main" val="1480382722"/>
                    </a:ext>
                  </a:extLst>
                </a:gridCol>
                <a:gridCol w="1467453">
                  <a:extLst>
                    <a:ext uri="{9D8B030D-6E8A-4147-A177-3AD203B41FA5}">
                      <a16:colId xmlns:a16="http://schemas.microsoft.com/office/drawing/2014/main" val="534110328"/>
                    </a:ext>
                  </a:extLst>
                </a:gridCol>
                <a:gridCol w="1011545">
                  <a:extLst>
                    <a:ext uri="{9D8B030D-6E8A-4147-A177-3AD203B41FA5}">
                      <a16:colId xmlns:a16="http://schemas.microsoft.com/office/drawing/2014/main" val="2823555801"/>
                    </a:ext>
                  </a:extLst>
                </a:gridCol>
                <a:gridCol w="459469">
                  <a:extLst>
                    <a:ext uri="{9D8B030D-6E8A-4147-A177-3AD203B41FA5}">
                      <a16:colId xmlns:a16="http://schemas.microsoft.com/office/drawing/2014/main" val="1320918330"/>
                    </a:ext>
                  </a:extLst>
                </a:gridCol>
                <a:gridCol w="726603">
                  <a:extLst>
                    <a:ext uri="{9D8B030D-6E8A-4147-A177-3AD203B41FA5}">
                      <a16:colId xmlns:a16="http://schemas.microsoft.com/office/drawing/2014/main" val="2787467406"/>
                    </a:ext>
                  </a:extLst>
                </a:gridCol>
                <a:gridCol w="740850">
                  <a:extLst>
                    <a:ext uri="{9D8B030D-6E8A-4147-A177-3AD203B41FA5}">
                      <a16:colId xmlns:a16="http://schemas.microsoft.com/office/drawing/2014/main" val="248923023"/>
                    </a:ext>
                  </a:extLst>
                </a:gridCol>
                <a:gridCol w="673176">
                  <a:extLst>
                    <a:ext uri="{9D8B030D-6E8A-4147-A177-3AD203B41FA5}">
                      <a16:colId xmlns:a16="http://schemas.microsoft.com/office/drawing/2014/main" val="2196029376"/>
                    </a:ext>
                  </a:extLst>
                </a:gridCol>
              </a:tblGrid>
              <a:tr h="119609">
                <a:tc>
                  <a:txBody>
                    <a:bodyPr/>
                    <a:lstStyle/>
                    <a:p>
                      <a:pPr algn="ctr" fontAlgn="b"/>
                      <a:r>
                        <a:rPr lang="sv-SE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#</a:t>
                      </a:r>
                    </a:p>
                  </a:txBody>
                  <a:tcPr marL="8630" marR="8630" marT="863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amn</a:t>
                      </a:r>
                    </a:p>
                  </a:txBody>
                  <a:tcPr marL="8630" marR="8630" marT="863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oll</a:t>
                      </a:r>
                    </a:p>
                  </a:txBody>
                  <a:tcPr marL="8630" marR="8630" marT="863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Längd</a:t>
                      </a:r>
                    </a:p>
                  </a:txBody>
                  <a:tcPr marL="8630" marR="8630" marT="863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8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ödelseår</a:t>
                      </a:r>
                    </a:p>
                  </a:txBody>
                  <a:tcPr marL="8630" marR="8630" marT="863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8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pikehöjd</a:t>
                      </a:r>
                    </a:p>
                  </a:txBody>
                  <a:tcPr marL="8630" marR="8630" marT="863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äckhöjd</a:t>
                      </a:r>
                    </a:p>
                  </a:txBody>
                  <a:tcPr marL="8630" marR="8630" marT="863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06471424"/>
                  </a:ext>
                </a:extLst>
              </a:tr>
              <a:tr h="156792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sv-S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sv-SE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sv-SE" sz="800" b="0" i="0" u="none" strike="noStrike" kern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sv-SE" sz="800" b="0" i="0" u="none" strike="noStrike" kern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sv-SE" sz="800" b="0" i="0" u="none" strike="noStrike" kern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sv-SE" sz="800" b="0" i="0" u="none" strike="noStrike" kern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sv-SE" sz="800" b="0" i="0" u="none" strike="noStrike" kern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54899890"/>
                  </a:ext>
                </a:extLst>
              </a:tr>
              <a:tr h="141587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sv-SE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sv-SE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sv-SE" sz="800" b="0" i="0" u="none" strike="noStrike" kern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sv-SE" sz="800" b="0" i="0" u="none" strike="noStrike" kern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sv-SE" sz="800" b="0" i="0" u="none" strike="noStrike" kern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sv-SE" sz="800" b="0" i="0" u="none" strike="noStrike" kern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sv-SE" sz="800" b="0" i="0" u="none" strike="noStrike" kern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5751293"/>
                  </a:ext>
                </a:extLst>
              </a:tr>
              <a:tr h="141587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sv-SE" sz="800" b="0" i="0" u="none" strike="noStrike" kern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sv-SE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sv-SE" sz="800" b="0" i="0" u="none" strike="noStrike" kern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sv-SE" sz="800" b="0" i="0" u="none" strike="noStrike" kern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sv-SE" sz="800" b="0" i="0" u="none" strike="noStrike" kern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sv-SE" sz="800" b="0" i="0" u="none" strike="noStrike" kern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sv-SE" sz="800" b="0" i="0" u="none" strike="noStrike" kern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20606097"/>
                  </a:ext>
                </a:extLst>
              </a:tr>
              <a:tr h="141587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sv-SE" sz="800" b="0" i="0" u="none" strike="noStrike" kern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sv-SE" sz="800" b="0" i="0" u="none" strike="noStrike" kern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sv-SE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sv-SE" sz="800" b="0" i="0" u="none" strike="noStrike" kern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sv-SE" sz="800" b="0" i="0" u="none" strike="noStrike" kern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sv-SE" sz="800" b="0" i="0" u="none" strike="noStrike" kern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sv-SE" sz="800" b="0" i="0" u="none" strike="noStrike" kern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41022281"/>
                  </a:ext>
                </a:extLst>
              </a:tr>
              <a:tr h="141587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sv-SE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sv-SE" sz="800" b="0" i="0" u="none" strike="noStrike" kern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sv-SE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sv-SE" sz="800" b="0" i="0" u="none" strike="noStrike" kern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sv-SE" sz="800" b="0" i="0" u="none" strike="noStrike" kern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sv-SE" sz="800" b="0" i="0" u="none" strike="noStrike" kern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sv-SE" sz="800" b="0" i="0" u="none" strike="noStrike" kern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8854208"/>
                  </a:ext>
                </a:extLst>
              </a:tr>
              <a:tr h="141587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sv-SE" sz="800" b="0" i="0" u="none" strike="noStrike" kern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sv-SE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sv-SE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sv-SE" sz="800" b="0" i="0" u="none" strike="noStrike" kern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sv-SE" sz="800" b="0" i="0" u="none" strike="noStrike" kern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sv-SE" sz="800" b="0" i="0" u="none" strike="noStrike" kern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sv-SE" sz="800" b="0" i="0" u="none" strike="noStrike" kern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72642023"/>
                  </a:ext>
                </a:extLst>
              </a:tr>
              <a:tr h="156792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sv-SE" sz="800" b="0" i="0" u="none" strike="noStrike" kern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sv-SE" sz="800" b="0" i="0" u="none" strike="noStrike" kern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sv-SE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sv-SE" sz="800" b="0" i="0" u="none" strike="noStrike" kern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sv-SE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sv-SE" sz="800" b="0" i="0" u="none" strike="noStrike" kern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sv-SE" sz="800" b="0" i="0" u="none" strike="noStrike" kern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0085896"/>
                  </a:ext>
                </a:extLst>
              </a:tr>
              <a:tr h="141587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sv-SE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sv-SE" sz="800" b="0" i="0" u="none" strike="noStrike" kern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sv-SE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sv-SE" sz="800" b="0" i="0" u="none" strike="noStrike" kern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sv-SE" sz="800" b="0" i="0" u="none" strike="noStrike" kern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sv-SE" sz="800" b="0" i="0" u="none" strike="noStrike" kern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sv-SE" sz="800" b="0" i="0" u="none" strike="noStrike" kern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6532656"/>
                  </a:ext>
                </a:extLst>
              </a:tr>
              <a:tr h="141587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sv-SE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sv-SE" sz="800" b="0" i="0" u="none" strike="noStrike" kern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sv-SE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sv-SE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sv-SE" sz="800" b="0" i="0" u="none" strike="noStrike" kern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sv-SE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sv-SE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85656460"/>
                  </a:ext>
                </a:extLst>
              </a:tr>
              <a:tr h="141587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sv-SE" sz="800" b="0" i="0" u="none" strike="noStrike" kern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sv-SE" sz="800" b="0" i="0" u="none" strike="noStrike" kern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sv-SE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sv-SE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sv-SE" sz="800" b="0" i="0" u="none" strike="noStrike" kern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sv-SE" sz="800" b="0" i="0" u="none" strike="noStrike" kern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sv-SE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55791235"/>
                  </a:ext>
                </a:extLst>
              </a:tr>
              <a:tr h="141587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sv-SE" sz="800" b="0" i="0" u="none" strike="noStrike" kern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sv-SE" sz="800" b="0" i="0" u="none" strike="noStrike" kern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sv-SE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sv-SE" sz="800" b="0" i="0" u="none" strike="noStrike" kern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sv-SE" sz="800" b="0" i="0" u="none" strike="noStrike" kern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sv-SE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sv-SE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57029402"/>
                  </a:ext>
                </a:extLst>
              </a:tr>
              <a:tr h="141587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sv-SE" sz="800" b="0" i="0" u="none" strike="noStrike" kern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sv-SE" sz="800" b="0" i="0" u="none" strike="noStrike" kern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sv-SE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sv-SE" sz="800" b="0" i="0" u="none" strike="noStrike" kern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sv-SE" sz="800" b="0" i="0" u="none" strike="noStrike" kern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sv-SE" sz="800" b="0" i="0" u="none" strike="noStrike" kern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sv-SE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16856838"/>
                  </a:ext>
                </a:extLst>
              </a:tr>
              <a:tr h="141587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sv-SE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sv-SE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sv-SE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sv-SE" sz="800" b="0" i="0" u="none" strike="noStrike" kern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sv-SE" sz="800" b="0" i="0" u="none" strike="noStrike" kern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sv-SE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sv-SE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43175107"/>
                  </a:ext>
                </a:extLst>
              </a:tr>
              <a:tr h="141587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sv-SE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sv-SE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sv-S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oach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sv-SE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sv-SE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sv-SE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sv-SE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56805019"/>
                  </a:ext>
                </a:extLst>
              </a:tr>
              <a:tr h="141587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sv-SE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sv-SE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sv-SE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ssisterande coach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sv-SE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sv-SE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sv-SE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sv-SE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592091"/>
                  </a:ext>
                </a:extLst>
              </a:tr>
              <a:tr h="141587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sv-SE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sv-SE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sv-SE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sv-SE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sv-SE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sv-SE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4431950"/>
                  </a:ext>
                </a:extLst>
              </a:tr>
            </a:tbl>
          </a:graphicData>
        </a:graphic>
      </p:graphicFrame>
      <p:pic>
        <p:nvPicPr>
          <p:cNvPr id="1026" name="Picture 2">
            <a:extLst>
              <a:ext uri="{FF2B5EF4-FFF2-40B4-BE49-F238E27FC236}">
                <a16:creationId xmlns:a16="http://schemas.microsoft.com/office/drawing/2014/main" id="{67534212-D9A1-797A-27CB-0D80BCCEDD1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56026" y="1714764"/>
            <a:ext cx="5145088" cy="34284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8742863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40D1AE3-F49C-4BAE-9D7A-D5232A43063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546740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40D1AE3-F49C-4BAE-9D7A-D5232A4306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A4879E75-66C3-4086-B0F1-03B0E24B5649}"/>
              </a:ext>
            </a:extLst>
          </p:cNvPr>
          <p:cNvSpPr txBox="1"/>
          <p:nvPr/>
        </p:nvSpPr>
        <p:spPr>
          <a:xfrm>
            <a:off x="375500" y="394055"/>
            <a:ext cx="367802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b="1" dirty="0"/>
              <a:t>XX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8D0BE73-1DC9-4174-8F67-075BC810B5C4}"/>
              </a:ext>
            </a:extLst>
          </p:cNvPr>
          <p:cNvSpPr txBox="1"/>
          <p:nvPr/>
        </p:nvSpPr>
        <p:spPr>
          <a:xfrm>
            <a:off x="375500" y="736878"/>
            <a:ext cx="3295190" cy="5386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</a:pPr>
            <a:r>
              <a:rPr lang="sv-SE" sz="1200" b="0" i="0" dirty="0">
                <a:solidFill>
                  <a:srgbClr val="050505"/>
                </a:solidFill>
                <a:effectLst/>
              </a:rPr>
              <a:t>xxx</a:t>
            </a:r>
            <a:endParaRPr lang="sv-SE" sz="1200" dirty="0">
              <a:solidFill>
                <a:srgbClr val="050505"/>
              </a:solidFill>
            </a:endParaRPr>
          </a:p>
          <a:p>
            <a:pPr>
              <a:spcBef>
                <a:spcPts val="600"/>
              </a:spcBef>
            </a:pPr>
            <a:r>
              <a:rPr lang="sv-SE" sz="1200" dirty="0">
                <a:solidFill>
                  <a:srgbClr val="050505"/>
                </a:solidFill>
              </a:rPr>
              <a:t>Tack för att ni är här!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AE2E3F7D-C962-4FAD-B489-531036421B9C}"/>
              </a:ext>
            </a:extLst>
          </p:cNvPr>
          <p:cNvSpPr txBox="1"/>
          <p:nvPr/>
        </p:nvSpPr>
        <p:spPr>
          <a:xfrm>
            <a:off x="329562" y="3814452"/>
            <a:ext cx="57587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b="1" dirty="0"/>
              <a:t>Elitserien – Tabell</a:t>
            </a:r>
          </a:p>
        </p:txBody>
      </p:sp>
      <p:graphicFrame>
        <p:nvGraphicFramePr>
          <p:cNvPr id="41" name="Table 40">
            <a:extLst>
              <a:ext uri="{FF2B5EF4-FFF2-40B4-BE49-F238E27FC236}">
                <a16:creationId xmlns:a16="http://schemas.microsoft.com/office/drawing/2014/main" id="{C78D0981-382F-4282-81A7-59D26103BD3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4484781"/>
              </p:ext>
            </p:extLst>
          </p:nvPr>
        </p:nvGraphicFramePr>
        <p:xfrm>
          <a:off x="443742" y="4136470"/>
          <a:ext cx="2857500" cy="2299335"/>
        </p:xfrm>
        <a:graphic>
          <a:graphicData uri="http://schemas.openxmlformats.org/drawingml/2006/table">
            <a:tbl>
              <a:tblPr firstRow="1" bandRow="1"/>
              <a:tblGrid>
                <a:gridCol w="1816100">
                  <a:extLst>
                    <a:ext uri="{9D8B030D-6E8A-4147-A177-3AD203B41FA5}">
                      <a16:colId xmlns:a16="http://schemas.microsoft.com/office/drawing/2014/main" val="2789593048"/>
                    </a:ext>
                  </a:extLst>
                </a:gridCol>
                <a:gridCol w="1041400">
                  <a:extLst>
                    <a:ext uri="{9D8B030D-6E8A-4147-A177-3AD203B41FA5}">
                      <a16:colId xmlns:a16="http://schemas.microsoft.com/office/drawing/2014/main" val="768859131"/>
                    </a:ext>
                  </a:extLst>
                </a:gridCol>
              </a:tblGrid>
              <a:tr h="146149">
                <a:tc>
                  <a:txBody>
                    <a:bodyPr/>
                    <a:lstStyle/>
                    <a:p>
                      <a:pPr algn="l" rtl="0" fontAlgn="b"/>
                      <a:r>
                        <a:rPr lang="sv-SE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g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sv-SE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äng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15560345"/>
                  </a:ext>
                </a:extLst>
              </a:tr>
              <a:tr h="146149">
                <a:tc>
                  <a:txBody>
                    <a:bodyPr/>
                    <a:lstStyle/>
                    <a:p>
                      <a:pPr algn="l" fontAlgn="b"/>
                      <a:endParaRPr lang="sv-SE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sv-SE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15111091"/>
                  </a:ext>
                </a:extLst>
              </a:tr>
              <a:tr h="146149">
                <a:tc>
                  <a:txBody>
                    <a:bodyPr/>
                    <a:lstStyle/>
                    <a:p>
                      <a:pPr algn="l" fontAlgn="b"/>
                      <a:endParaRPr lang="sv-SE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sv-SE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42010379"/>
                  </a:ext>
                </a:extLst>
              </a:tr>
              <a:tr h="146149">
                <a:tc>
                  <a:txBody>
                    <a:bodyPr/>
                    <a:lstStyle/>
                    <a:p>
                      <a:pPr algn="l" fontAlgn="b"/>
                      <a:endParaRPr lang="sv-SE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sv-SE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58120685"/>
                  </a:ext>
                </a:extLst>
              </a:tr>
              <a:tr h="146149">
                <a:tc>
                  <a:txBody>
                    <a:bodyPr/>
                    <a:lstStyle/>
                    <a:p>
                      <a:pPr algn="l" fontAlgn="b"/>
                      <a:endParaRPr lang="sv-SE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sv-SE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86403979"/>
                  </a:ext>
                </a:extLst>
              </a:tr>
              <a:tr h="146149">
                <a:tc>
                  <a:txBody>
                    <a:bodyPr/>
                    <a:lstStyle/>
                    <a:p>
                      <a:pPr algn="l" fontAlgn="b"/>
                      <a:endParaRPr lang="sv-SE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sv-SE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64903267"/>
                  </a:ext>
                </a:extLst>
              </a:tr>
              <a:tr h="146149">
                <a:tc>
                  <a:txBody>
                    <a:bodyPr/>
                    <a:lstStyle/>
                    <a:p>
                      <a:pPr algn="l" fontAlgn="b"/>
                      <a:endParaRPr lang="sv-SE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sv-SE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56697909"/>
                  </a:ext>
                </a:extLst>
              </a:tr>
              <a:tr h="146149">
                <a:tc>
                  <a:txBody>
                    <a:bodyPr/>
                    <a:lstStyle/>
                    <a:p>
                      <a:pPr algn="l" fontAlgn="b"/>
                      <a:endParaRPr lang="sv-SE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sv-SE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71136947"/>
                  </a:ext>
                </a:extLst>
              </a:tr>
              <a:tr h="146149">
                <a:tc>
                  <a:txBody>
                    <a:bodyPr/>
                    <a:lstStyle/>
                    <a:p>
                      <a:pPr algn="l" fontAlgn="b"/>
                      <a:endParaRPr lang="sv-SE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sv-SE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4374287"/>
                  </a:ext>
                </a:extLst>
              </a:tr>
              <a:tr h="146149">
                <a:tc>
                  <a:txBody>
                    <a:bodyPr/>
                    <a:lstStyle/>
                    <a:p>
                      <a:pPr algn="l" fontAlgn="b"/>
                      <a:endParaRPr lang="sv-SE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sv-SE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2172534"/>
                  </a:ext>
                </a:extLst>
              </a:tr>
              <a:tr h="146149">
                <a:tc>
                  <a:txBody>
                    <a:bodyPr/>
                    <a:lstStyle/>
                    <a:p>
                      <a:pPr algn="l" fontAlgn="b"/>
                      <a:endParaRPr lang="sv-SE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sv-SE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54355664"/>
                  </a:ext>
                </a:extLst>
              </a:tr>
              <a:tr h="146149">
                <a:tc>
                  <a:txBody>
                    <a:bodyPr/>
                    <a:lstStyle/>
                    <a:p>
                      <a:pPr algn="l" fontAlgn="b"/>
                      <a:endParaRPr lang="sv-SE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sv-SE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98974930"/>
                  </a:ext>
                </a:extLst>
              </a:tr>
            </a:tbl>
          </a:graphicData>
        </a:graphic>
      </p:graphicFrame>
      <p:sp>
        <p:nvSpPr>
          <p:cNvPr id="54" name="TextBox 53">
            <a:extLst>
              <a:ext uri="{FF2B5EF4-FFF2-40B4-BE49-F238E27FC236}">
                <a16:creationId xmlns:a16="http://schemas.microsoft.com/office/drawing/2014/main" id="{70ED56DB-355C-409E-A53A-1AD2EB7E1915}"/>
              </a:ext>
            </a:extLst>
          </p:cNvPr>
          <p:cNvSpPr txBox="1"/>
          <p:nvPr/>
        </p:nvSpPr>
        <p:spPr>
          <a:xfrm>
            <a:off x="6395004" y="394055"/>
            <a:ext cx="27986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b="1"/>
              <a:t>Våra sponsorer:</a:t>
            </a:r>
            <a:endParaRPr lang="sv-SE" b="1" dirty="0"/>
          </a:p>
        </p:txBody>
      </p:sp>
      <p:sp>
        <p:nvSpPr>
          <p:cNvPr id="11" name="Speech Bubble: Rectangle with Corners Rounded 10">
            <a:extLst>
              <a:ext uri="{FF2B5EF4-FFF2-40B4-BE49-F238E27FC236}">
                <a16:creationId xmlns:a16="http://schemas.microsoft.com/office/drawing/2014/main" id="{D5A50316-F297-ED87-5381-83C52DBEB6C4}"/>
              </a:ext>
            </a:extLst>
          </p:cNvPr>
          <p:cNvSpPr/>
          <p:nvPr/>
        </p:nvSpPr>
        <p:spPr>
          <a:xfrm>
            <a:off x="10101977" y="266486"/>
            <a:ext cx="1714523" cy="575784"/>
          </a:xfrm>
          <a:prstGeom prst="wedgeRoundRectCallout">
            <a:avLst>
              <a:gd name="adj1" fmla="val -22886"/>
              <a:gd name="adj2" fmla="val 70464"/>
              <a:gd name="adj3" fmla="val 16667"/>
            </a:avLst>
          </a:prstGeom>
          <a:solidFill>
            <a:srgbClr val="0F6B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sv-SE" sz="1000" b="1" dirty="0">
                <a:solidFill>
                  <a:schemeClr val="bg1"/>
                </a:solidFill>
              </a:rPr>
              <a:t>Vill du också sponsra klubben? Kontakta oss på sodertelgevolley@telia.com</a:t>
            </a:r>
          </a:p>
        </p:txBody>
      </p:sp>
      <p:pic>
        <p:nvPicPr>
          <p:cNvPr id="6" name="Picture 4" descr="Kan vara en bild av 4 personer, personer som spelar volleyboll, boll och inomhus">
            <a:extLst>
              <a:ext uri="{FF2B5EF4-FFF2-40B4-BE49-F238E27FC236}">
                <a16:creationId xmlns:a16="http://schemas.microsoft.com/office/drawing/2014/main" id="{5F136297-4F67-5F29-FFD3-3697F7D61E1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140" r="20306"/>
          <a:stretch/>
        </p:blipFill>
        <p:spPr bwMode="auto">
          <a:xfrm>
            <a:off x="4435454" y="394055"/>
            <a:ext cx="1345911" cy="22646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A7FB0362-9DF6-E498-DDC3-FD405E9E1F3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98555" y="3959175"/>
            <a:ext cx="2007391" cy="2007391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BAB91ADE-931C-FB7A-52E0-78E77CB3A192}"/>
              </a:ext>
            </a:extLst>
          </p:cNvPr>
          <p:cNvSpPr txBox="1"/>
          <p:nvPr/>
        </p:nvSpPr>
        <p:spPr>
          <a:xfrm>
            <a:off x="3583358" y="5921999"/>
            <a:ext cx="2441459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000" i="1" dirty="0"/>
              <a:t>Scanna QR-koden för all info om Elitserien. Håll din mobilkamera mot bilden så ska rätt länk komma upp</a:t>
            </a: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C539248F-7006-E6EA-3097-78B51B9B572E}"/>
              </a:ext>
            </a:extLst>
          </p:cNvPr>
          <p:cNvGrpSpPr/>
          <p:nvPr/>
        </p:nvGrpSpPr>
        <p:grpSpPr>
          <a:xfrm>
            <a:off x="6459234" y="913940"/>
            <a:ext cx="5500493" cy="5077033"/>
            <a:chOff x="6459234" y="913940"/>
            <a:chExt cx="5500493" cy="5077033"/>
          </a:xfrm>
        </p:grpSpPr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0E5DF046-9F98-1244-F219-8A216613DBC6}"/>
                </a:ext>
              </a:extLst>
            </p:cNvPr>
            <p:cNvSpPr/>
            <p:nvPr/>
          </p:nvSpPr>
          <p:spPr>
            <a:xfrm>
              <a:off x="9510934" y="2372906"/>
              <a:ext cx="958644" cy="958644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sv-SE" dirty="0">
                  <a:solidFill>
                    <a:schemeClr val="tx1"/>
                  </a:solidFill>
                </a:rPr>
                <a:t>Produkt-</a:t>
              </a:r>
              <a:br>
                <a:rPr lang="sv-SE" dirty="0">
                  <a:solidFill>
                    <a:schemeClr val="tx1"/>
                  </a:solidFill>
                </a:rPr>
              </a:br>
              <a:r>
                <a:rPr lang="sv-SE" dirty="0">
                  <a:solidFill>
                    <a:schemeClr val="tx1"/>
                  </a:solidFill>
                </a:rPr>
                <a:t>sponsor</a:t>
              </a: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027846D0-D510-EEF8-7565-9B7EDB0C4ADB}"/>
                </a:ext>
              </a:extLst>
            </p:cNvPr>
            <p:cNvSpPr/>
            <p:nvPr/>
          </p:nvSpPr>
          <p:spPr>
            <a:xfrm>
              <a:off x="6459235" y="3633226"/>
              <a:ext cx="958644" cy="95864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sv-SE" dirty="0">
                  <a:solidFill>
                    <a:schemeClr val="tx1"/>
                  </a:solidFill>
                </a:rPr>
                <a:t>Silver-</a:t>
              </a:r>
              <a:br>
                <a:rPr lang="sv-SE" dirty="0">
                  <a:solidFill>
                    <a:schemeClr val="tx1"/>
                  </a:solidFill>
                </a:rPr>
              </a:br>
              <a:r>
                <a:rPr lang="sv-SE" dirty="0">
                  <a:solidFill>
                    <a:schemeClr val="tx1"/>
                  </a:solidFill>
                </a:rPr>
                <a:t>sponsor</a:t>
              </a:r>
            </a:p>
          </p:txBody>
        </p:sp>
        <p:pic>
          <p:nvPicPr>
            <p:cNvPr id="15" name="Picture 2" descr="Ingen fotobeskrivning tillgänglig.">
              <a:extLst>
                <a:ext uri="{FF2B5EF4-FFF2-40B4-BE49-F238E27FC236}">
                  <a16:creationId xmlns:a16="http://schemas.microsoft.com/office/drawing/2014/main" id="{071B22AF-1610-56FF-A526-BC392803E4A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964" t="32165" r="16964" b="32165"/>
            <a:stretch/>
          </p:blipFill>
          <p:spPr bwMode="auto">
            <a:xfrm>
              <a:off x="7399176" y="3387218"/>
              <a:ext cx="1493295" cy="80619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2149F726-2E0F-F86D-78F8-487D8B40BC7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181" r="19417"/>
            <a:stretch/>
          </p:blipFill>
          <p:spPr bwMode="auto">
            <a:xfrm>
              <a:off x="10619213" y="2816441"/>
              <a:ext cx="1203674" cy="58232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9" name="Picture 10" descr="Telge – med samhällsnytta i fokus | Tekniksprånget">
              <a:extLst>
                <a:ext uri="{FF2B5EF4-FFF2-40B4-BE49-F238E27FC236}">
                  <a16:creationId xmlns:a16="http://schemas.microsoft.com/office/drawing/2014/main" id="{52EABD91-C3A7-11DC-B9A1-EBB55CCB56D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409248" y="1473995"/>
              <a:ext cx="1350607" cy="57141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54F2B23C-8D68-C7B8-A815-D355414FE424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7624149" y="1249081"/>
              <a:ext cx="1099842" cy="571412"/>
            </a:xfrm>
            <a:prstGeom prst="rect">
              <a:avLst/>
            </a:prstGeom>
          </p:spPr>
        </p:pic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296289AE-48D2-4B7B-6808-2C2A49D68EE1}"/>
                </a:ext>
              </a:extLst>
            </p:cNvPr>
            <p:cNvSpPr txBox="1"/>
            <p:nvPr/>
          </p:nvSpPr>
          <p:spPr>
            <a:xfrm>
              <a:off x="7858339" y="5359055"/>
              <a:ext cx="1611983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sv-SE"/>
              </a:defPPr>
              <a:lvl1pPr>
                <a:defRPr sz="1100">
                  <a:solidFill>
                    <a:srgbClr val="222222"/>
                  </a:solidFill>
                  <a:effectLst/>
                </a:defRPr>
              </a:lvl1pPr>
            </a:lstStyle>
            <a:p>
              <a:r>
                <a:rPr lang="sv-SE" sz="1400" b="1" dirty="0"/>
                <a:t>VB Mark-</a:t>
              </a:r>
              <a:br>
                <a:rPr lang="sv-SE" sz="1400" b="1" dirty="0"/>
              </a:br>
              <a:r>
                <a:rPr lang="sv-SE" sz="1400" b="1" dirty="0"/>
                <a:t>entreprenad AB </a:t>
              </a:r>
            </a:p>
          </p:txBody>
        </p:sp>
        <p:pic>
          <p:nvPicPr>
            <p:cNvPr id="25" name="Picture 2" descr="Beskrivning saknas.">
              <a:extLst>
                <a:ext uri="{FF2B5EF4-FFF2-40B4-BE49-F238E27FC236}">
                  <a16:creationId xmlns:a16="http://schemas.microsoft.com/office/drawing/2014/main" id="{9BF03E1F-B33F-1F69-5E75-476F1726E8F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752779" y="913940"/>
              <a:ext cx="958644" cy="60216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6" name="Picture 4" descr="Beskrivning saknas.">
              <a:extLst>
                <a:ext uri="{FF2B5EF4-FFF2-40B4-BE49-F238E27FC236}">
                  <a16:creationId xmlns:a16="http://schemas.microsoft.com/office/drawing/2014/main" id="{7D49FC5F-76C2-7E88-2524-BAADD9CA819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29394" y="4981557"/>
              <a:ext cx="2257260" cy="3083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619A7456-E07C-13DF-BAAD-266A161B2C0A}"/>
                </a:ext>
              </a:extLst>
            </p:cNvPr>
            <p:cNvSpPr/>
            <p:nvPr/>
          </p:nvSpPr>
          <p:spPr>
            <a:xfrm>
              <a:off x="6459236" y="1112590"/>
              <a:ext cx="958642" cy="958640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sv-SE" dirty="0">
                  <a:solidFill>
                    <a:schemeClr val="bg1"/>
                  </a:solidFill>
                </a:rPr>
                <a:t>Diamant-</a:t>
              </a:r>
              <a:br>
                <a:rPr lang="sv-SE" dirty="0">
                  <a:solidFill>
                    <a:schemeClr val="bg1"/>
                  </a:solidFill>
                </a:rPr>
              </a:br>
              <a:r>
                <a:rPr lang="sv-SE" dirty="0">
                  <a:solidFill>
                    <a:schemeClr val="bg1"/>
                  </a:solidFill>
                </a:rPr>
                <a:t>sponsor</a:t>
              </a:r>
            </a:p>
          </p:txBody>
        </p: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84BF30D7-B733-2DFF-F549-5357367B827B}"/>
                </a:ext>
              </a:extLst>
            </p:cNvPr>
            <p:cNvCxnSpPr/>
            <p:nvPr/>
          </p:nvCxnSpPr>
          <p:spPr>
            <a:xfrm>
              <a:off x="6459236" y="2222068"/>
              <a:ext cx="5500491" cy="0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C0D9AC1E-8D87-A37C-7681-929A06ACE712}"/>
                </a:ext>
              </a:extLst>
            </p:cNvPr>
            <p:cNvSpPr txBox="1"/>
            <p:nvPr/>
          </p:nvSpPr>
          <p:spPr>
            <a:xfrm>
              <a:off x="9973362" y="961277"/>
              <a:ext cx="1978896" cy="584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sv-SE" sz="1600" b="1" dirty="0" err="1">
                  <a:solidFill>
                    <a:srgbClr val="222222"/>
                  </a:solidFill>
                  <a:effectLst/>
                </a:rPr>
                <a:t>Ronna</a:t>
              </a:r>
              <a:r>
                <a:rPr lang="sv-SE" sz="1600" b="1" dirty="0">
                  <a:solidFill>
                    <a:srgbClr val="222222"/>
                  </a:solidFill>
                  <a:effectLst/>
                </a:rPr>
                <a:t> Vårdcentral</a:t>
              </a:r>
            </a:p>
            <a:p>
              <a:pPr algn="ctr"/>
              <a:r>
                <a:rPr lang="sv-SE" sz="1600" dirty="0"/>
                <a:t>08-550 250 60</a:t>
              </a:r>
            </a:p>
          </p:txBody>
        </p: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4808D11A-0436-3CA4-1167-7E822E766CAA}"/>
                </a:ext>
              </a:extLst>
            </p:cNvPr>
            <p:cNvCxnSpPr/>
            <p:nvPr/>
          </p:nvCxnSpPr>
          <p:spPr>
            <a:xfrm>
              <a:off x="6459236" y="3482388"/>
              <a:ext cx="5500491" cy="0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A80BC027-B566-12C7-5907-3DA4C8CB7A5C}"/>
                </a:ext>
              </a:extLst>
            </p:cNvPr>
            <p:cNvSpPr/>
            <p:nvPr/>
          </p:nvSpPr>
          <p:spPr>
            <a:xfrm>
              <a:off x="6459234" y="2372906"/>
              <a:ext cx="958644" cy="958644"/>
            </a:xfrm>
            <a:prstGeom prst="ellipse">
              <a:avLst/>
            </a:prstGeom>
            <a:solidFill>
              <a:srgbClr val="FAC81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sv-SE" dirty="0">
                  <a:solidFill>
                    <a:schemeClr val="tx1"/>
                  </a:solidFill>
                </a:rPr>
                <a:t>Guld-</a:t>
              </a:r>
              <a:br>
                <a:rPr lang="sv-SE" dirty="0">
                  <a:solidFill>
                    <a:schemeClr val="tx1"/>
                  </a:solidFill>
                </a:rPr>
              </a:br>
              <a:r>
                <a:rPr lang="sv-SE" dirty="0">
                  <a:solidFill>
                    <a:schemeClr val="tx1"/>
                  </a:solidFill>
                </a:rPr>
                <a:t>sponsor</a:t>
              </a:r>
            </a:p>
          </p:txBody>
        </p:sp>
        <p:pic>
          <p:nvPicPr>
            <p:cNvPr id="38" name="Picture 37" descr="Logo&#10;&#10;Description automatically generated">
              <a:extLst>
                <a:ext uri="{FF2B5EF4-FFF2-40B4-BE49-F238E27FC236}">
                  <a16:creationId xmlns:a16="http://schemas.microsoft.com/office/drawing/2014/main" id="{A3538DA5-0436-872E-414E-A919C50EBE18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843150" y="3564384"/>
              <a:ext cx="2517654" cy="405319"/>
            </a:xfrm>
            <a:prstGeom prst="rect">
              <a:avLst/>
            </a:prstGeom>
          </p:spPr>
        </p:pic>
        <p:pic>
          <p:nvPicPr>
            <p:cNvPr id="40" name="Picture 39" descr="Logo&#10;&#10;Description automatically generated">
              <a:extLst>
                <a:ext uri="{FF2B5EF4-FFF2-40B4-BE49-F238E27FC236}">
                  <a16:creationId xmlns:a16="http://schemas.microsoft.com/office/drawing/2014/main" id="{2F8DACC9-5515-BA5C-965A-1F16075BFA69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030728" y="4981557"/>
              <a:ext cx="660151" cy="784479"/>
            </a:xfrm>
            <a:prstGeom prst="rect">
              <a:avLst/>
            </a:prstGeom>
          </p:spPr>
        </p:pic>
        <p:pic>
          <p:nvPicPr>
            <p:cNvPr id="43" name="Picture 4" descr="ByggBox AB">
              <a:extLst>
                <a:ext uri="{FF2B5EF4-FFF2-40B4-BE49-F238E27FC236}">
                  <a16:creationId xmlns:a16="http://schemas.microsoft.com/office/drawing/2014/main" id="{22AA743D-30E5-6938-80B0-6329FCD36FE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58339" y="4040551"/>
              <a:ext cx="1093168" cy="61217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4" name="Picture 6">
              <a:extLst>
                <a:ext uri="{FF2B5EF4-FFF2-40B4-BE49-F238E27FC236}">
                  <a16:creationId xmlns:a16="http://schemas.microsoft.com/office/drawing/2014/main" id="{78AAE48D-4D5C-EE40-8B38-BC4A09208FF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29394" y="2624413"/>
              <a:ext cx="1522070" cy="4648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5" name="Picture 2" descr="Karossan">
              <a:extLst>
                <a:ext uri="{FF2B5EF4-FFF2-40B4-BE49-F238E27FC236}">
                  <a16:creationId xmlns:a16="http://schemas.microsoft.com/office/drawing/2014/main" id="{465FF704-FABA-B779-DCC1-56D45D75C8C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304201" y="3966851"/>
              <a:ext cx="2265542" cy="7217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6" name="Picture 45">
              <a:extLst>
                <a:ext uri="{FF2B5EF4-FFF2-40B4-BE49-F238E27FC236}">
                  <a16:creationId xmlns:a16="http://schemas.microsoft.com/office/drawing/2014/main" id="{B51AC78A-413C-EA9B-4D7B-1B3A4339D9D1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9470272" y="5382506"/>
              <a:ext cx="1415038" cy="608467"/>
            </a:xfrm>
            <a:prstGeom prst="rect">
              <a:avLst/>
            </a:prstGeom>
          </p:spPr>
        </p:pic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FAF57FF1-C40D-8BA7-074D-E5FE18B62B01}"/>
                </a:ext>
              </a:extLst>
            </p:cNvPr>
            <p:cNvSpPr/>
            <p:nvPr/>
          </p:nvSpPr>
          <p:spPr>
            <a:xfrm>
              <a:off x="6459235" y="4887329"/>
              <a:ext cx="958644" cy="958644"/>
            </a:xfrm>
            <a:prstGeom prst="ellipse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sv-SE" dirty="0">
                  <a:solidFill>
                    <a:schemeClr val="tx1"/>
                  </a:solidFill>
                </a:rPr>
                <a:t>Brons-</a:t>
              </a:r>
              <a:br>
                <a:rPr lang="sv-SE" dirty="0">
                  <a:solidFill>
                    <a:schemeClr val="tx1"/>
                  </a:solidFill>
                </a:rPr>
              </a:br>
              <a:r>
                <a:rPr lang="sv-SE" dirty="0">
                  <a:solidFill>
                    <a:schemeClr val="tx1"/>
                  </a:solidFill>
                </a:rPr>
                <a:t>sponsor</a:t>
              </a:r>
            </a:p>
          </p:txBody>
        </p: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519DFD2F-FD77-4628-2D48-7B72ADE33117}"/>
                </a:ext>
              </a:extLst>
            </p:cNvPr>
            <p:cNvCxnSpPr/>
            <p:nvPr/>
          </p:nvCxnSpPr>
          <p:spPr>
            <a:xfrm>
              <a:off x="6459236" y="4739599"/>
              <a:ext cx="5500491" cy="0"/>
            </a:xfrm>
            <a:prstGeom prst="line">
              <a:avLst/>
            </a:prstGeom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4" name="Picture 14" descr="Atillas - Birkavägen 4, Södertälje | hitta.se">
              <a:extLst>
                <a:ext uri="{FF2B5EF4-FFF2-40B4-BE49-F238E27FC236}">
                  <a16:creationId xmlns:a16="http://schemas.microsoft.com/office/drawing/2014/main" id="{4866999F-CF6C-E181-8088-4F1CE7DF909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619213" y="2377491"/>
              <a:ext cx="1203674" cy="48445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46755192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Metadata/LabelInfo.xml><?xml version="1.0" encoding="utf-8"?>
<clbl:labelList xmlns:clbl="http://schemas.microsoft.com/office/2020/mipLabelMetadata">
  <clbl:label id="{8c3d8a03-6c4f-48cf-a1a6-1b38e749645c}" enabled="1" method="Standard" siteId="{44b5383f-aeed-4959-a674-24d907b93966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1090</TotalTime>
  <Words>231</Words>
  <Application>Microsoft Office PowerPoint</Application>
  <PresentationFormat>Widescreen</PresentationFormat>
  <Paragraphs>142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7" baseType="lpstr">
      <vt:lpstr>Arial</vt:lpstr>
      <vt:lpstr>Calibri</vt:lpstr>
      <vt:lpstr>Calibri Light</vt:lpstr>
      <vt:lpstr>Office Theme</vt:lpstr>
      <vt:lpstr>think-cell Slide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undgren Gestlöf, Johanna</dc:creator>
  <cp:lastModifiedBy>Lundgren Gestlöf, Johanna</cp:lastModifiedBy>
  <cp:revision>11</cp:revision>
  <cp:lastPrinted>2021-11-18T16:05:42Z</cp:lastPrinted>
  <dcterms:created xsi:type="dcterms:W3CDTF">2021-10-19T15:50:55Z</dcterms:created>
  <dcterms:modified xsi:type="dcterms:W3CDTF">2024-02-08T21:12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8c3d8a03-6c4f-48cf-a1a6-1b38e749645c_Enabled">
    <vt:lpwstr>true</vt:lpwstr>
  </property>
  <property fmtid="{D5CDD505-2E9C-101B-9397-08002B2CF9AE}" pid="3" name="MSIP_Label_8c3d8a03-6c4f-48cf-a1a6-1b38e749645c_SetDate">
    <vt:lpwstr>2021-10-19T15:50:56Z</vt:lpwstr>
  </property>
  <property fmtid="{D5CDD505-2E9C-101B-9397-08002B2CF9AE}" pid="4" name="MSIP_Label_8c3d8a03-6c4f-48cf-a1a6-1b38e749645c_Method">
    <vt:lpwstr>Standard</vt:lpwstr>
  </property>
  <property fmtid="{D5CDD505-2E9C-101B-9397-08002B2CF9AE}" pid="5" name="MSIP_Label_8c3d8a03-6c4f-48cf-a1a6-1b38e749645c_Name">
    <vt:lpwstr>Internal</vt:lpwstr>
  </property>
  <property fmtid="{D5CDD505-2E9C-101B-9397-08002B2CF9AE}" pid="6" name="MSIP_Label_8c3d8a03-6c4f-48cf-a1a6-1b38e749645c_SiteId">
    <vt:lpwstr>44b5383f-aeed-4959-a674-24d907b93966</vt:lpwstr>
  </property>
  <property fmtid="{D5CDD505-2E9C-101B-9397-08002B2CF9AE}" pid="7" name="MSIP_Label_8c3d8a03-6c4f-48cf-a1a6-1b38e749645c_ActionId">
    <vt:lpwstr>b4d4c38c-9927-46a9-be8c-90c56a406962</vt:lpwstr>
  </property>
  <property fmtid="{D5CDD505-2E9C-101B-9397-08002B2CF9AE}" pid="8" name="MSIP_Label_8c3d8a03-6c4f-48cf-a1a6-1b38e749645c_ContentBits">
    <vt:lpwstr>0</vt:lpwstr>
  </property>
</Properties>
</file>